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0"/>
  </p:notesMasterIdLst>
  <p:sldIdLst>
    <p:sldId id="2147477363" r:id="rId5"/>
    <p:sldId id="2147477364" r:id="rId6"/>
    <p:sldId id="2147477365" r:id="rId7"/>
    <p:sldId id="2147477366" r:id="rId8"/>
    <p:sldId id="2147477367" r:id="rId9"/>
    <p:sldId id="2147477368" r:id="rId10"/>
    <p:sldId id="2147477369" r:id="rId11"/>
    <p:sldId id="2147477370" r:id="rId12"/>
    <p:sldId id="2147477371" r:id="rId13"/>
    <p:sldId id="2147477372" r:id="rId14"/>
    <p:sldId id="2147477373" r:id="rId15"/>
    <p:sldId id="2147477374" r:id="rId16"/>
    <p:sldId id="2147477375" r:id="rId17"/>
    <p:sldId id="2147477376" r:id="rId18"/>
    <p:sldId id="2147477377" r:id="rId19"/>
    <p:sldId id="2147477378" r:id="rId20"/>
    <p:sldId id="2147477379" r:id="rId21"/>
    <p:sldId id="2147477380" r:id="rId22"/>
    <p:sldId id="2147477381" r:id="rId23"/>
    <p:sldId id="2147477382" r:id="rId24"/>
    <p:sldId id="2147477383" r:id="rId25"/>
    <p:sldId id="2147477384" r:id="rId26"/>
    <p:sldId id="2147477385" r:id="rId27"/>
    <p:sldId id="2147477386" r:id="rId28"/>
    <p:sldId id="2147477387" r:id="rId29"/>
    <p:sldId id="2147477388" r:id="rId30"/>
    <p:sldId id="2147477389" r:id="rId31"/>
    <p:sldId id="2147477390" r:id="rId32"/>
    <p:sldId id="2147477391" r:id="rId33"/>
    <p:sldId id="2147477392" r:id="rId34"/>
    <p:sldId id="2147477393" r:id="rId35"/>
    <p:sldId id="2147477394" r:id="rId36"/>
    <p:sldId id="2147477395" r:id="rId37"/>
    <p:sldId id="2147477396" r:id="rId38"/>
    <p:sldId id="2147477397" r:id="rId39"/>
    <p:sldId id="2147477398" r:id="rId40"/>
    <p:sldId id="2147477399" r:id="rId41"/>
    <p:sldId id="2147477400" r:id="rId42"/>
    <p:sldId id="2147477401" r:id="rId43"/>
    <p:sldId id="2147477402" r:id="rId44"/>
    <p:sldId id="2147477403" r:id="rId45"/>
    <p:sldId id="2147477404" r:id="rId46"/>
    <p:sldId id="2147477405" r:id="rId47"/>
    <p:sldId id="2147477406" r:id="rId48"/>
    <p:sldId id="2147477407"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ADD55380-E10A-4E74-B4A0-B117FA4FF9AD}">
          <p14:sldIdLst>
            <p14:sldId id="2147477363"/>
            <p14:sldId id="2147477364"/>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Lst>
        </p14:section>
        <p14:section name="Sectors Price Correlation Analysis P3Y" id="{EBA68B7B-AFB1-4156-961F-196BDF16239D}">
          <p14:sldIdLst>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gments Price Correlation Analysis P3Y" id="{861BB7BF-D5FE-4C4E-A4A2-69757F918CE9}">
          <p14:sldIdLst>
            <p14:sldId id="2147477397"/>
            <p14:sldId id="2147477398"/>
            <p14:sldId id="2147477399"/>
            <p14:sldId id="2147477400"/>
            <p14:sldId id="2147477401"/>
            <p14:sldId id="2147477402"/>
            <p14:sldId id="2147477403"/>
          </p14:sldIdLst>
        </p14:section>
        <p14:section name="SubSegment Price Correlation Analysis P3Y" id="{F7ADE0DB-F50A-4021-AF10-8D03E711D4AE}">
          <p14:sldIdLst>
            <p14:sldId id="2147477404"/>
            <p14:sldId id="2147477405"/>
            <p14:sldId id="2147477406"/>
            <p14:sldId id="214747740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110" y="36"/>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notesMaster" Target="notesMasters/notesMaster1.xml"/><Relationship Id="rId51" Type="http://schemas.openxmlformats.org/officeDocument/2006/relationships/presProps" Target="presProps.xml"/><Relationship Id="rId52" Type="http://schemas.openxmlformats.org/officeDocument/2006/relationships/viewProps" Target="viewProps.xml"/><Relationship Id="rId53" Type="http://schemas.openxmlformats.org/officeDocument/2006/relationships/theme" Target="theme/theme1.xml"/><Relationship Id="rId54" Type="http://schemas.openxmlformats.org/officeDocument/2006/relationships/tableStyles" Target="tableStyles.xml"/><Relationship Id="rId5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1889047064406195</c:v>
                </c:pt>
                <c:pt idx="1">
                  <c:v>1.1767750841169873</c:v>
                </c:pt>
                <c:pt idx="2">
                  <c:v>1.1781554654473296</c:v>
                </c:pt>
                <c:pt idx="3">
                  <c:v>1.1829868001035286</c:v>
                </c:pt>
                <c:pt idx="4">
                  <c:v>1.1800534897765507</c:v>
                </c:pt>
                <c:pt idx="5">
                  <c:v>1.1821240617720645</c:v>
                </c:pt>
                <c:pt idx="6">
                  <c:v>1.1815201449400397</c:v>
                </c:pt>
                <c:pt idx="7">
                  <c:v>1.1813475972737468</c:v>
                </c:pt>
                <c:pt idx="8">
                  <c:v>1.191786731084462</c:v>
                </c:pt>
                <c:pt idx="9">
                  <c:v>1.1868259856785437</c:v>
                </c:pt>
                <c:pt idx="10">
                  <c:v>1.180139763609697</c:v>
                </c:pt>
                <c:pt idx="11">
                  <c:v>1.1888965576740573</c:v>
                </c:pt>
                <c:pt idx="12">
                  <c:v>1.1933396600810973</c:v>
                </c:pt>
                <c:pt idx="13">
                  <c:v>1.1882063670088863</c:v>
                </c:pt>
                <c:pt idx="14">
                  <c:v>1.1883357777586057</c:v>
                </c:pt>
                <c:pt idx="15">
                  <c:v>1.187774997843154</c:v>
                </c:pt>
                <c:pt idx="16">
                  <c:v>1.1888965576740573</c:v>
                </c:pt>
                <c:pt idx="17">
                  <c:v>1.1902769390044</c:v>
                </c:pt>
                <c:pt idx="18">
                  <c:v>1.188387041111255</c:v>
                </c:pt>
                <c:pt idx="19">
                  <c:v>1.1884651885083255</c:v>
                </c:pt>
                <c:pt idx="20">
                  <c:v>1.1874299025105686</c:v>
                </c:pt>
                <c:pt idx="21">
                  <c:v>1.188594599258045</c:v>
                </c:pt>
                <c:pt idx="22">
                  <c:v>1.187774997843154</c:v>
                </c:pt>
                <c:pt idx="23">
                  <c:v>1.1879475455094468</c:v>
                </c:pt>
                <c:pt idx="24">
                  <c:v>1.1869985333448365</c:v>
                </c:pt>
                <c:pt idx="25">
                  <c:v>1.1872142179277025</c:v>
                </c:pt>
                <c:pt idx="26">
                  <c:v>1.1878612716763004</c:v>
                </c:pt>
                <c:pt idx="27">
                  <c:v>1.1910965404192908</c:v>
                </c:pt>
                <c:pt idx="28">
                  <c:v>1.1863514795962384</c:v>
                </c:pt>
                <c:pt idx="29">
                  <c:v>1.1874299025105686</c:v>
                </c:pt>
                <c:pt idx="30">
                  <c:v>1.185841853241879</c:v>
                </c:pt>
                <c:pt idx="31">
                  <c:v>1.1882926408420327</c:v>
                </c:pt>
                <c:pt idx="32">
                  <c:v>1.1879906824260202</c:v>
                </c:pt>
                <c:pt idx="33">
                  <c:v>1.1882063670088863</c:v>
                </c:pt>
                <c:pt idx="34">
                  <c:v>1.188163230092313</c:v>
                </c:pt>
                <c:pt idx="35">
                  <c:v>1.178241739280476</c:v>
                </c:pt>
                <c:pt idx="36">
                  <c:v>1.078641991285967</c:v>
                </c:pt>
                <c:pt idx="37">
                  <c:v>1.0791993788284013</c:v>
                </c:pt>
                <c:pt idx="38">
                  <c:v>1.1115520662583038</c:v>
                </c:pt>
                <c:pt idx="39">
                  <c:v>1.188163230092313</c:v>
                </c:pt>
                <c:pt idx="40">
                  <c:v>1.1869985333448365</c:v>
                </c:pt>
                <c:pt idx="41">
                  <c:v>1.18691225951169</c:v>
                </c:pt>
                <c:pt idx="42">
                  <c:v>1.1874730394271418</c:v>
                </c:pt>
                <c:pt idx="43">
                  <c:v>1.1905357605038391</c:v>
                </c:pt>
              </c:numCache>
            </c:numRef>
          </c:xVal>
          <c:yVal>
            <c:numRef>
              <c:f>Sheet1!$B$2:$B$45</c:f>
              <c:numCache>
                <c:formatCode>General</c:formatCode>
                <c:ptCount val="4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pt idx="14">
                  <c:v>0.057572850401870185</c:v>
                </c:pt>
                <c:pt idx="15">
                  <c:v>0.056338675407381536</c:v>
                </c:pt>
                <c:pt idx="16">
                  <c:v>0.05630465870315221</c:v>
                </c:pt>
                <c:pt idx="17">
                  <c:v>0.049812661365279357</c:v>
                </c:pt>
                <c:pt idx="18">
                  <c:v>0.05861562035195975</c:v>
                </c:pt>
                <c:pt idx="19">
                  <c:v>0.0558006200260311</c:v>
                </c:pt>
                <c:pt idx="20">
                  <c:v>0.06609229484150034</c:v>
                </c:pt>
                <c:pt idx="21">
                  <c:v>0.05335900789967919</c:v>
                </c:pt>
                <c:pt idx="22">
                  <c:v>0.049816421368994626</c:v>
                </c:pt>
                <c:pt idx="23">
                  <c:v>0.053632186663470374</c:v>
                </c:pt>
                <c:pt idx="24">
                  <c:v>0.04960329838984244</c:v>
                </c:pt>
                <c:pt idx="25">
                  <c:v>0.05742476467081583</c:v>
                </c:pt>
                <c:pt idx="26">
                  <c:v>0.0478791868812661</c:v>
                </c:pt>
                <c:pt idx="27">
                  <c:v>0.061010188704603265</c:v>
                </c:pt>
                <c:pt idx="28">
                  <c:v>0.05149382024487228</c:v>
                </c:pt>
                <c:pt idx="29">
                  <c:v>0.05399825706842638</c:v>
                </c:pt>
                <c:pt idx="30">
                  <c:v>0.055580509701812726</c:v>
                </c:pt>
                <c:pt idx="31">
                  <c:v>0.05884877561700888</c:v>
                </c:pt>
                <c:pt idx="32">
                  <c:v>0.05863814023271748</c:v>
                </c:pt>
                <c:pt idx="33">
                  <c:v>0.042450568864485186</c:v>
                </c:pt>
                <c:pt idx="34">
                  <c:v>0.05058881021953254</c:v>
                </c:pt>
                <c:pt idx="35">
                  <c:v>0.060389334448544045</c:v>
                </c:pt>
                <c:pt idx="36">
                  <c:v>0.06833008977689702</c:v>
                </c:pt>
                <c:pt idx="37">
                  <c:v>0.04595635342547913</c:v>
                </c:pt>
                <c:pt idx="38">
                  <c:v>0.06154357286670051</c:v>
                </c:pt>
                <c:pt idx="39">
                  <c:v>0.0477779216718552</c:v>
                </c:pt>
                <c:pt idx="40">
                  <c:v>0.053430623335661856</c:v>
                </c:pt>
                <c:pt idx="41">
                  <c:v>0.04833532016707964</c:v>
                </c:pt>
                <c:pt idx="42">
                  <c:v>0.056232910038156315</c:v>
                </c:pt>
                <c:pt idx="43">
                  <c:v>0.05910060529249901</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1764731257009748</c:v>
                </c:pt>
                <c:pt idx="1">
                  <c:v>1.1932102493313776</c:v>
                </c:pt>
                <c:pt idx="2">
                  <c:v>1.1942455353291346</c:v>
                </c:pt>
                <c:pt idx="3">
                  <c:v>1.1957121904926236</c:v>
                </c:pt>
                <c:pt idx="4">
                  <c:v>1.1929945647485118</c:v>
                </c:pt>
                <c:pt idx="5">
                  <c:v>1.197308256405832</c:v>
                </c:pt>
                <c:pt idx="6">
                  <c:v>1.1910102665861444</c:v>
                </c:pt>
                <c:pt idx="7">
                  <c:v>1.1913984988353032</c:v>
                </c:pt>
                <c:pt idx="8">
                  <c:v>1.100552152532137</c:v>
                </c:pt>
                <c:pt idx="9">
                  <c:v>0.9882667586920887</c:v>
                </c:pt>
                <c:pt idx="10">
                  <c:v>0.9838660972348044</c:v>
                </c:pt>
                <c:pt idx="11">
                  <c:v>1.0905012509705807</c:v>
                </c:pt>
                <c:pt idx="12">
                  <c:v>1.1963161073246484</c:v>
                </c:pt>
                <c:pt idx="13">
                  <c:v>1.1939435769131221</c:v>
                </c:pt>
                <c:pt idx="14">
                  <c:v>1.088258131308774</c:v>
                </c:pt>
                <c:pt idx="15">
                  <c:v>0.9874471572771978</c:v>
                </c:pt>
                <c:pt idx="16">
                  <c:v>0.9856354067811233</c:v>
                </c:pt>
                <c:pt idx="17">
                  <c:v>1.051117246139246</c:v>
                </c:pt>
                <c:pt idx="18">
                  <c:v>1.1948925890777327</c:v>
                </c:pt>
                <c:pt idx="19">
                  <c:v>1.1954965059097575</c:v>
                </c:pt>
                <c:pt idx="20">
                  <c:v>1.191786731084462</c:v>
                </c:pt>
                <c:pt idx="21">
                  <c:v>1.1966180657406609</c:v>
                </c:pt>
                <c:pt idx="22">
                  <c:v>1.1863946165128116</c:v>
                </c:pt>
                <c:pt idx="23">
                  <c:v>1.0685906561408052</c:v>
                </c:pt>
                <c:pt idx="24">
                  <c:v>0.9852040376153912</c:v>
                </c:pt>
                <c:pt idx="25">
                  <c:v>0.9854628591148304</c:v>
                </c:pt>
                <c:pt idx="26">
                  <c:v>1.0342938486756965</c:v>
                </c:pt>
                <c:pt idx="27">
                  <c:v>1.1420498662755585</c:v>
                </c:pt>
                <c:pt idx="28">
                  <c:v>1.1398498835303252</c:v>
                </c:pt>
                <c:pt idx="29">
                  <c:v>1.159520317487706</c:v>
                </c:pt>
                <c:pt idx="30">
                  <c:v>1.1589164006556811</c:v>
                </c:pt>
                <c:pt idx="31">
                  <c:v>1.1570615132430335</c:v>
                </c:pt>
                <c:pt idx="32">
                  <c:v>1.1623673539815373</c:v>
                </c:pt>
                <c:pt idx="33">
                  <c:v>1.158405590785557</c:v>
                </c:pt>
                <c:pt idx="34">
                  <c:v>1.160771288068329</c:v>
                </c:pt>
                <c:pt idx="35">
                  <c:v>1.1581399361573634</c:v>
                </c:pt>
                <c:pt idx="36">
                  <c:v>1.1560693641618498</c:v>
                </c:pt>
                <c:pt idx="37">
                  <c:v>1.163532050729014</c:v>
                </c:pt>
                <c:pt idx="38">
                  <c:v>1.024156673280994</c:v>
                </c:pt>
                <c:pt idx="39">
                  <c:v>0.9604003105857993</c:v>
                </c:pt>
                <c:pt idx="40">
                  <c:v>0.9544905530152704</c:v>
                </c:pt>
                <c:pt idx="41">
                  <c:v>1.0455545489840818</c:v>
                </c:pt>
                <c:pt idx="42">
                  <c:v>1.1585713053230955</c:v>
                </c:pt>
                <c:pt idx="43">
                  <c:v>1.1662928133896988</c:v>
                </c:pt>
                <c:pt idx="44">
                  <c:v>1.0544819256319558</c:v>
                </c:pt>
                <c:pt idx="45">
                  <c:v>0.9564317142610647</c:v>
                </c:pt>
                <c:pt idx="46">
                  <c:v>0.9563454404279182</c:v>
                </c:pt>
                <c:pt idx="47">
                  <c:v>1.065956345440428</c:v>
                </c:pt>
                <c:pt idx="48">
                  <c:v>1.159520317487706</c:v>
                </c:pt>
                <c:pt idx="49">
                  <c:v>1.1632802726370737</c:v>
                </c:pt>
                <c:pt idx="50">
                  <c:v>1.1606919459902507</c:v>
                </c:pt>
                <c:pt idx="51">
                  <c:v>1.159994823570011</c:v>
                </c:pt>
              </c:numCache>
            </c:numRef>
          </c:xVal>
          <c:yVal>
            <c:numRef>
              <c:f>Sheet1!$B$48:$B$99</c:f>
              <c:numCache>
                <c:formatCode>General</c:formatCode>
                <c:ptCount val="52"/>
                <c:pt idx="0">
                  <c:v>0.055234075385208886</c:v>
                </c:pt>
                <c:pt idx="1">
                  <c:v>0.06654972484039293</c:v>
                </c:pt>
                <c:pt idx="2">
                  <c:v>0.059293829262355637</c:v>
                </c:pt>
                <c:pt idx="3">
                  <c:v>0.04675931151831366</c:v>
                </c:pt>
                <c:pt idx="4">
                  <c:v>0.06762909022684233</c:v>
                </c:pt>
                <c:pt idx="5">
                  <c:v>0.057812327892362216</c:v>
                </c:pt>
                <c:pt idx="6">
                  <c:v>0.05498129222562317</c:v>
                </c:pt>
                <c:pt idx="7">
                  <c:v>0.05153836130134507</c:v>
                </c:pt>
                <c:pt idx="8">
                  <c:v>0.053642759858496133</c:v>
                </c:pt>
                <c:pt idx="9">
                  <c:v>0.0769049478994267</c:v>
                </c:pt>
                <c:pt idx="10">
                  <c:v>0.06122713188165881</c:v>
                </c:pt>
                <c:pt idx="11">
                  <c:v>0.0565800517175177</c:v>
                </c:pt>
                <c:pt idx="12">
                  <c:v>0.05688256555673173</c:v>
                </c:pt>
                <c:pt idx="13">
                  <c:v>0.047406534634842276</c:v>
                </c:pt>
                <c:pt idx="14">
                  <c:v>0.05715811790766488</c:v>
                </c:pt>
                <c:pt idx="15">
                  <c:v>0.0634462860190862</c:v>
                </c:pt>
                <c:pt idx="16">
                  <c:v>0.05451299766010065</c:v>
                </c:pt>
                <c:pt idx="17">
                  <c:v>0.06955707169309898</c:v>
                </c:pt>
                <c:pt idx="18">
                  <c:v>0.052698064622372295</c:v>
                </c:pt>
                <c:pt idx="19">
                  <c:v>0.056430349718169875</c:v>
                </c:pt>
                <c:pt idx="20">
                  <c:v>0.04894151269394723</c:v>
                </c:pt>
                <c:pt idx="21">
                  <c:v>0.05155833285734999</c:v>
                </c:pt>
                <c:pt idx="22">
                  <c:v>0.0745768691673905</c:v>
                </c:pt>
                <c:pt idx="23">
                  <c:v>0.05851764622685744</c:v>
                </c:pt>
                <c:pt idx="24">
                  <c:v>0.06721224324974745</c:v>
                </c:pt>
                <c:pt idx="25">
                  <c:v>0.0685390120460053</c:v>
                </c:pt>
                <c:pt idx="26">
                  <c:v>0.060285593512683595</c:v>
                </c:pt>
                <c:pt idx="27">
                  <c:v>0.0565956324119252</c:v>
                </c:pt>
                <c:pt idx="28">
                  <c:v>0.040008014308472686</c:v>
                </c:pt>
                <c:pt idx="29">
                  <c:v>0.06533634493965179</c:v>
                </c:pt>
                <c:pt idx="30">
                  <c:v>0.0515726786030211</c:v>
                </c:pt>
                <c:pt idx="31">
                  <c:v>0.05675351676811864</c:v>
                </c:pt>
                <c:pt idx="32">
                  <c:v>0.06476613857917965</c:v>
                </c:pt>
                <c:pt idx="33">
                  <c:v>0.05339862821303569</c:v>
                </c:pt>
                <c:pt idx="34">
                  <c:v>0.05354227268462044</c:v>
                </c:pt>
                <c:pt idx="35">
                  <c:v>0.049819410635811114</c:v>
                </c:pt>
                <c:pt idx="36">
                  <c:v>0.06880576330201779</c:v>
                </c:pt>
                <c:pt idx="37">
                  <c:v>0.03693554868980487</c:v>
                </c:pt>
                <c:pt idx="38">
                  <c:v>0.0851160296441133</c:v>
                </c:pt>
                <c:pt idx="39">
                  <c:v>0.06672036499521031</c:v>
                </c:pt>
                <c:pt idx="40">
                  <c:v>0.05400812968943301</c:v>
                </c:pt>
                <c:pt idx="41">
                  <c:v>0.057332063797009</c:v>
                </c:pt>
                <c:pt idx="42">
                  <c:v>0.054202770183867106</c:v>
                </c:pt>
                <c:pt idx="43">
                  <c:v>0.04628557057434677</c:v>
                </c:pt>
                <c:pt idx="44">
                  <c:v>0.06596169571287916</c:v>
                </c:pt>
                <c:pt idx="45">
                  <c:v>0.07636134726578216</c:v>
                </c:pt>
                <c:pt idx="46">
                  <c:v>0.07181794170410624</c:v>
                </c:pt>
                <c:pt idx="47">
                  <c:v>0.06681629348529416</c:v>
                </c:pt>
                <c:pt idx="48">
                  <c:v>0.05472030149501995</c:v>
                </c:pt>
                <c:pt idx="49">
                  <c:v>0.0538930960958753</c:v>
                </c:pt>
                <c:pt idx="50">
                  <c:v>0.048809690618746765</c:v>
                </c:pt>
                <c:pt idx="51">
                  <c:v>0.0563810809287389</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100394318042254</c:v>
                </c:pt>
              </c:numCache>
            </c:numRef>
          </c:xVal>
          <c:yVal>
            <c:numRef>
              <c:f>Sheet1!$B$102:$B$103</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100394318042254</c:v>
                </c:pt>
                <c:pt idx="1">
                  <c:v>1.100394318042254</c:v>
                </c:pt>
              </c:numCache>
            </c:numRef>
          </c:xVal>
          <c:yVal>
            <c:numRef>
              <c:f>Sheet1!$B$106:$B$107</c:f>
              <c:numCache>
                <c:formatCode>General</c:formatCode>
                <c:ptCount val="2"/>
                <c:pt idx="0">
                  <c:v>0.0594854112727929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100394318042254</c:v>
                </c:pt>
              </c:numCache>
            </c:numRef>
          </c:xVal>
          <c:yVal>
            <c:numRef>
              <c:f>Sheet1!$B$110:$B$111</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100394318042254</c:v>
                </c:pt>
                <c:pt idx="1">
                  <c:v>1.100394318042254</c:v>
                </c:pt>
              </c:numCache>
            </c:numRef>
          </c:xVal>
          <c:yVal>
            <c:numRef>
              <c:f>Sheet1!$B$114:$B$115</c:f>
              <c:numCache>
                <c:formatCode>General</c:formatCode>
                <c:ptCount val="2"/>
                <c:pt idx="0">
                  <c:v>0.0594854112727929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100394318042254</c:v>
                </c:pt>
              </c:numCache>
            </c:numRef>
          </c:xVal>
          <c:yVal>
            <c:numRef>
              <c:f>Sheet1!$B$118:$B$119</c:f>
              <c:numCache>
                <c:formatCode>General</c:formatCode>
                <c:ptCount val="2"/>
                <c:pt idx="0">
                  <c:v>0.05948541127279299</c:v>
                </c:pt>
                <c:pt idx="1">
                  <c:v>0.05948541127279299</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100394318042254</c:v>
                </c:pt>
                <c:pt idx="1">
                  <c:v>1.100394318042254</c:v>
                </c:pt>
              </c:numCache>
            </c:numRef>
          </c:xVal>
          <c:yVal>
            <c:numRef>
              <c:f>Sheet1!$B$122:$B$123</c:f>
              <c:numCache>
                <c:formatCode>General</c:formatCode>
                <c:ptCount val="2"/>
                <c:pt idx="0">
                  <c:v>0.059485411272792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1764731257009748</c:v>
                </c:pt>
                <c:pt idx="1">
                  <c:v>1.1932102493313776</c:v>
                </c:pt>
                <c:pt idx="2">
                  <c:v>1.1942455353291346</c:v>
                </c:pt>
                <c:pt idx="3">
                  <c:v>1.1957121904926236</c:v>
                </c:pt>
                <c:pt idx="4">
                  <c:v>1.1929945647485118</c:v>
                </c:pt>
                <c:pt idx="5">
                  <c:v>1.197308256405832</c:v>
                </c:pt>
                <c:pt idx="6">
                  <c:v>1.1910102665861444</c:v>
                </c:pt>
                <c:pt idx="7">
                  <c:v>1.1913984988353032</c:v>
                </c:pt>
                <c:pt idx="8">
                  <c:v>1.100552152532137</c:v>
                </c:pt>
                <c:pt idx="9">
                  <c:v>0.9882667586920887</c:v>
                </c:pt>
                <c:pt idx="10">
                  <c:v>0.9838660972348044</c:v>
                </c:pt>
                <c:pt idx="11">
                  <c:v>1.0905012509705807</c:v>
                </c:pt>
                <c:pt idx="12">
                  <c:v>1.1963161073246484</c:v>
                </c:pt>
                <c:pt idx="13">
                  <c:v>1.1939435769131221</c:v>
                </c:pt>
                <c:pt idx="14">
                  <c:v>1.088258131308774</c:v>
                </c:pt>
                <c:pt idx="15">
                  <c:v>0.9874471572771978</c:v>
                </c:pt>
                <c:pt idx="16">
                  <c:v>0.9856354067811233</c:v>
                </c:pt>
                <c:pt idx="17">
                  <c:v>1.051117246139246</c:v>
                </c:pt>
                <c:pt idx="18">
                  <c:v>1.1948925890777327</c:v>
                </c:pt>
                <c:pt idx="19">
                  <c:v>1.1954965059097575</c:v>
                </c:pt>
                <c:pt idx="20">
                  <c:v>1.191786731084462</c:v>
                </c:pt>
                <c:pt idx="21">
                  <c:v>1.1966180657406609</c:v>
                </c:pt>
                <c:pt idx="22">
                  <c:v>1.1863946165128116</c:v>
                </c:pt>
                <c:pt idx="23">
                  <c:v>1.0685906561408052</c:v>
                </c:pt>
                <c:pt idx="24">
                  <c:v>0.9852040376153912</c:v>
                </c:pt>
                <c:pt idx="25">
                  <c:v>0.9854628591148304</c:v>
                </c:pt>
                <c:pt idx="26">
                  <c:v>1.0342938486756965</c:v>
                </c:pt>
                <c:pt idx="27">
                  <c:v>1.1420498662755585</c:v>
                </c:pt>
                <c:pt idx="28">
                  <c:v>1.1398498835303252</c:v>
                </c:pt>
                <c:pt idx="29">
                  <c:v>1.159520317487706</c:v>
                </c:pt>
                <c:pt idx="30">
                  <c:v>1.1589164006556811</c:v>
                </c:pt>
                <c:pt idx="31">
                  <c:v>1.1570615132430335</c:v>
                </c:pt>
                <c:pt idx="32">
                  <c:v>1.1623673539815373</c:v>
                </c:pt>
                <c:pt idx="33">
                  <c:v>1.158405590785557</c:v>
                </c:pt>
                <c:pt idx="34">
                  <c:v>1.160771288068329</c:v>
                </c:pt>
                <c:pt idx="35">
                  <c:v>1.1581399361573634</c:v>
                </c:pt>
                <c:pt idx="36">
                  <c:v>1.1560693641618498</c:v>
                </c:pt>
                <c:pt idx="37">
                  <c:v>1.163532050729014</c:v>
                </c:pt>
                <c:pt idx="38">
                  <c:v>1.024156673280994</c:v>
                </c:pt>
                <c:pt idx="39">
                  <c:v>0.9604003105857993</c:v>
                </c:pt>
                <c:pt idx="40">
                  <c:v>0.9544905530152704</c:v>
                </c:pt>
                <c:pt idx="41">
                  <c:v>1.0455545489840818</c:v>
                </c:pt>
                <c:pt idx="42">
                  <c:v>1.1585713053230955</c:v>
                </c:pt>
                <c:pt idx="43">
                  <c:v>1.1662928133896988</c:v>
                </c:pt>
                <c:pt idx="44">
                  <c:v>1.0544819256319558</c:v>
                </c:pt>
                <c:pt idx="45">
                  <c:v>0.9564317142610647</c:v>
                </c:pt>
                <c:pt idx="46">
                  <c:v>0.9563454404279182</c:v>
                </c:pt>
                <c:pt idx="47">
                  <c:v>1.065956345440428</c:v>
                </c:pt>
                <c:pt idx="48">
                  <c:v>1.159520317487706</c:v>
                </c:pt>
                <c:pt idx="49">
                  <c:v>1.1632802726370737</c:v>
                </c:pt>
                <c:pt idx="50">
                  <c:v>1.1606919459902507</c:v>
                </c:pt>
                <c:pt idx="51">
                  <c:v>1.159994823570011</c:v>
                </c:pt>
                <c:pt idx="52">
                  <c:v>1.100394318042254</c:v>
                </c:pt>
                <c:pt idx="53">
                  <c:v>1.100394318042254</c:v>
                </c:pt>
                <c:pt idx="54">
                  <c:v>1.100394318042254</c:v>
                </c:pt>
              </c:numCache>
            </c:numRef>
          </c:xVal>
          <c:yVal>
            <c:numRef>
              <c:f>Sheet1!$B$126:$B$180</c:f>
              <c:numCache>
                <c:formatCode>General</c:formatCode>
                <c:ptCount val="55"/>
                <c:pt idx="0">
                  <c:v>0.05510636905287365</c:v>
                </c:pt>
                <c:pt idx="1">
                  <c:v>0.054142992085317546</c:v>
                </c:pt>
                <c:pt idx="2">
                  <c:v>0.05408340175742747</c:v>
                </c:pt>
                <c:pt idx="3">
                  <c:v>0.05399898212624987</c:v>
                </c:pt>
                <c:pt idx="4">
                  <c:v>0.0541554067369613</c:v>
                </c:pt>
                <c:pt idx="5">
                  <c:v>0.05390711370408602</c:v>
                </c:pt>
                <c:pt idx="6">
                  <c:v>0.054269621532083936</c:v>
                </c:pt>
                <c:pt idx="7">
                  <c:v>0.054247275159125155</c:v>
                </c:pt>
                <c:pt idx="8">
                  <c:v>0.059476326431478724</c:v>
                </c:pt>
                <c:pt idx="9">
                  <c:v>0.06593939407722246</c:v>
                </c:pt>
                <c:pt idx="10">
                  <c:v>0.06619269303011176</c:v>
                </c:pt>
                <c:pt idx="11">
                  <c:v>0.060054849198078145</c:v>
                </c:pt>
                <c:pt idx="12">
                  <c:v>0.05396422110164732</c:v>
                </c:pt>
                <c:pt idx="13">
                  <c:v>0.05410078226972874</c:v>
                </c:pt>
                <c:pt idx="14">
                  <c:v>0.06018396157517329</c:v>
                </c:pt>
                <c:pt idx="15">
                  <c:v>0.06598656975346878</c:v>
                </c:pt>
                <c:pt idx="16">
                  <c:v>0.06609085282727639</c:v>
                </c:pt>
                <c:pt idx="17">
                  <c:v>0.06232176458822952</c:v>
                </c:pt>
                <c:pt idx="18">
                  <c:v>0.05404615780249618</c:v>
                </c:pt>
                <c:pt idx="19">
                  <c:v>0.05401139677789364</c:v>
                </c:pt>
                <c:pt idx="20">
                  <c:v>0.05422492878616639</c:v>
                </c:pt>
                <c:pt idx="21">
                  <c:v>0.053946840589346054</c:v>
                </c:pt>
                <c:pt idx="22">
                  <c:v>0.05453529507726049</c:v>
                </c:pt>
                <c:pt idx="23">
                  <c:v>0.0613160074992642</c:v>
                </c:pt>
                <c:pt idx="24">
                  <c:v>0.06611568213056393</c:v>
                </c:pt>
                <c:pt idx="25">
                  <c:v>0.06610078454859142</c:v>
                </c:pt>
                <c:pt idx="26">
                  <c:v>0.06329010741644316</c:v>
                </c:pt>
                <c:pt idx="27">
                  <c:v>0.057087747455218454</c:v>
                </c:pt>
                <c:pt idx="28">
                  <c:v>0.057214376901984845</c:v>
                </c:pt>
                <c:pt idx="29">
                  <c:v>0.05608216067207353</c:v>
                </c:pt>
                <c:pt idx="30">
                  <c:v>0.05611692169667608</c:v>
                </c:pt>
                <c:pt idx="31">
                  <c:v>0.056223687700812444</c:v>
                </c:pt>
                <c:pt idx="32">
                  <c:v>0.055918287270375844</c:v>
                </c:pt>
                <c:pt idx="33">
                  <c:v>0.056146323550575514</c:v>
                </c:pt>
                <c:pt idx="34">
                  <c:v>0.0560101556925397</c:v>
                </c:pt>
                <c:pt idx="35">
                  <c:v>0.05616161444259363</c:v>
                </c:pt>
                <c:pt idx="36">
                  <c:v>0.05628079509837376</c:v>
                </c:pt>
                <c:pt idx="37">
                  <c:v>0.055851248151499513</c:v>
                </c:pt>
                <c:pt idx="38">
                  <c:v>0.06387359604370008</c:v>
                </c:pt>
                <c:pt idx="39">
                  <c:v>0.06754336706959684</c:v>
                </c:pt>
                <c:pt idx="40">
                  <c:v>0.06788352852463597</c:v>
                </c:pt>
                <c:pt idx="41">
                  <c:v>0.06264194949186735</c:v>
                </c:pt>
                <c:pt idx="42">
                  <c:v>0.0561367851393061</c:v>
                </c:pt>
                <c:pt idx="43">
                  <c:v>0.05569234061045934</c:v>
                </c:pt>
                <c:pt idx="44">
                  <c:v>0.0621280960225868</c:v>
                </c:pt>
                <c:pt idx="45">
                  <c:v>0.06777179665984209</c:v>
                </c:pt>
                <c:pt idx="46">
                  <c:v>0.0677767625204996</c:v>
                </c:pt>
                <c:pt idx="47">
                  <c:v>0.06146763655513853</c:v>
                </c:pt>
                <c:pt idx="48">
                  <c:v>0.05608216067207353</c:v>
                </c:pt>
                <c:pt idx="49">
                  <c:v>0.05586574031993101</c:v>
                </c:pt>
                <c:pt idx="50">
                  <c:v>0.05601472256629092</c:v>
                </c:pt>
                <c:pt idx="51">
                  <c:v>0.05605484843845726</c:v>
                </c:pt>
                <c:pt idx="52">
                  <c:v>0.059485411272792985</c:v>
                </c:pt>
                <c:pt idx="53">
                  <c:v>0.059485411272792985</c:v>
                </c:pt>
                <c:pt idx="54">
                  <c:v>0.0594854112727929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213923557293596"/>
          <c:min val="0.02954843895184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0667</c:v>
                </c:pt>
                <c:pt idx="1">
                  <c:v>2.0667</c:v>
                </c:pt>
                <c:pt idx="2">
                  <c:v>1.9451</c:v>
                </c:pt>
                <c:pt idx="3">
                  <c:v>1.8594</c:v>
                </c:pt>
                <c:pt idx="4">
                  <c:v>1.8594</c:v>
                </c:pt>
                <c:pt idx="5">
                  <c:v>1.8594</c:v>
                </c:pt>
                <c:pt idx="6">
                  <c:v>1.8955</c:v>
                </c:pt>
                <c:pt idx="7">
                  <c:v>2.0667</c:v>
                </c:pt>
                <c:pt idx="8">
                  <c:v>2.0667</c:v>
                </c:pt>
                <c:pt idx="9">
                  <c:v>2.0667</c:v>
                </c:pt>
                <c:pt idx="10">
                  <c:v>2.0667</c:v>
                </c:pt>
                <c:pt idx="11">
                  <c:v>2.0658</c:v>
                </c:pt>
                <c:pt idx="12">
                  <c:v>2.0667</c:v>
                </c:pt>
                <c:pt idx="13">
                  <c:v>1.91</c:v>
                </c:pt>
                <c:pt idx="14">
                  <c:v>1.8604</c:v>
                </c:pt>
                <c:pt idx="15">
                  <c:v>1.8604</c:v>
                </c:pt>
                <c:pt idx="16">
                  <c:v>1.8604</c:v>
                </c:pt>
                <c:pt idx="17">
                  <c:v>2.0225</c:v>
                </c:pt>
                <c:pt idx="18">
                  <c:v>2.0667</c:v>
                </c:pt>
                <c:pt idx="19">
                  <c:v>1.9336</c:v>
                </c:pt>
                <c:pt idx="20">
                  <c:v>1.8604</c:v>
                </c:pt>
                <c:pt idx="21">
                  <c:v>1.8625</c:v>
                </c:pt>
                <c:pt idx="22">
                  <c:v>1.9952</c:v>
                </c:pt>
                <c:pt idx="23">
                  <c:v>2.0667</c:v>
                </c:pt>
                <c:pt idx="24">
                  <c:v>1.9468</c:v>
                </c:pt>
                <c:pt idx="25">
                  <c:v>1.8604</c:v>
                </c:pt>
                <c:pt idx="26">
                  <c:v>2.1441</c:v>
                </c:pt>
                <c:pt idx="27">
                  <c:v>2.1698</c:v>
                </c:pt>
                <c:pt idx="28">
                  <c:v>2.0777</c:v>
                </c:pt>
                <c:pt idx="29">
                  <c:v>2.1365</c:v>
                </c:pt>
                <c:pt idx="30">
                  <c:v>2.0881</c:v>
                </c:pt>
                <c:pt idx="31">
                  <c:v>2.0754</c:v>
                </c:pt>
                <c:pt idx="32">
                  <c:v>1.9835</c:v>
                </c:pt>
                <c:pt idx="33">
                  <c:v>2.0024</c:v>
                </c:pt>
                <c:pt idx="34">
                  <c:v>2.1118</c:v>
                </c:pt>
                <c:pt idx="35">
                  <c:v>2.2054</c:v>
                </c:pt>
                <c:pt idx="36">
                  <c:v>2.1909</c:v>
                </c:pt>
                <c:pt idx="37">
                  <c:v>2.1231</c:v>
                </c:pt>
                <c:pt idx="38">
                  <c:v>2.0464</c:v>
                </c:pt>
                <c:pt idx="39">
                  <c:v>1.965</c:v>
                </c:pt>
                <c:pt idx="40">
                  <c:v>1.9914</c:v>
                </c:pt>
                <c:pt idx="41">
                  <c:v>2.2571</c:v>
                </c:pt>
                <c:pt idx="42">
                  <c:v>2.2294</c:v>
                </c:pt>
                <c:pt idx="43">
                  <c:v>2.2091</c:v>
                </c:pt>
              </c:numCache>
            </c:numRef>
          </c:xVal>
          <c:yVal>
            <c:numRef>
              <c:f>Sheet1!$B$2:$B$45</c:f>
              <c:numCache>
                <c:formatCode>General</c:formatCode>
                <c:ptCount val="4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pt idx="14">
                  <c:v>0.08946308680196463</c:v>
                </c:pt>
                <c:pt idx="15">
                  <c:v>0.08211715576959872</c:v>
                </c:pt>
                <c:pt idx="16">
                  <c:v>0.08722805915124317</c:v>
                </c:pt>
                <c:pt idx="17">
                  <c:v>0.09352473407001963</c:v>
                </c:pt>
                <c:pt idx="18">
                  <c:v>0.08434838038740794</c:v>
                </c:pt>
                <c:pt idx="19">
                  <c:v>0.10126460157857697</c:v>
                </c:pt>
                <c:pt idx="20">
                  <c:v>0.07882558904537294</c:v>
                </c:pt>
                <c:pt idx="21">
                  <c:v>0.09088138788813294</c:v>
                </c:pt>
                <c:pt idx="22">
                  <c:v>0.08492839959843161</c:v>
                </c:pt>
                <c:pt idx="23">
                  <c:v>0.08002557033840745</c:v>
                </c:pt>
                <c:pt idx="24">
                  <c:v>0.08870839802424595</c:v>
                </c:pt>
                <c:pt idx="25">
                  <c:v>0.08814101892275535</c:v>
                </c:pt>
                <c:pt idx="26">
                  <c:v>0.11186490368356827</c:v>
                </c:pt>
                <c:pt idx="27">
                  <c:v>0.1066226193722102</c:v>
                </c:pt>
                <c:pt idx="28">
                  <c:v>0.09392703501447323</c:v>
                </c:pt>
                <c:pt idx="29">
                  <c:v>0.08661220393852827</c:v>
                </c:pt>
                <c:pt idx="30">
                  <c:v>0.09252925564217239</c:v>
                </c:pt>
                <c:pt idx="31">
                  <c:v>0.09248728319016201</c:v>
                </c:pt>
                <c:pt idx="32">
                  <c:v>0.10394504920570757</c:v>
                </c:pt>
                <c:pt idx="33">
                  <c:v>0.10114623982935728</c:v>
                </c:pt>
                <c:pt idx="34">
                  <c:v>0.09829188235760701</c:v>
                </c:pt>
                <c:pt idx="35">
                  <c:v>0.08891287191490223</c:v>
                </c:pt>
                <c:pt idx="36">
                  <c:v>0.08112231423225112</c:v>
                </c:pt>
                <c:pt idx="37">
                  <c:v>0.1138048308388539</c:v>
                </c:pt>
                <c:pt idx="38">
                  <c:v>0.10277795205530238</c:v>
                </c:pt>
                <c:pt idx="39">
                  <c:v>0.11341389334682281</c:v>
                </c:pt>
                <c:pt idx="40">
                  <c:v>0.10130440349634595</c:v>
                </c:pt>
                <c:pt idx="41">
                  <c:v>0.09961503514291283</c:v>
                </c:pt>
                <c:pt idx="42">
                  <c:v>0.08353227163353241</c:v>
                </c:pt>
                <c:pt idx="43">
                  <c:v>0.0859545704927653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numCache>
            </c:numRef>
          </c:xVal>
          <c:yVal>
            <c:numRef>
              <c:f>Sheet1!$B$48:$B$99</c:f>
              <c:numCache>
                <c:formatCode>General</c:formatCode>
                <c:ptCount val="52"/>
                <c:pt idx="0">
                  <c:v>0.09595287983197304</c:v>
                </c:pt>
                <c:pt idx="1">
                  <c:v>0.09309278109730414</c:v>
                </c:pt>
                <c:pt idx="2">
                  <c:v>0.06617859537390408</c:v>
                </c:pt>
                <c:pt idx="3">
                  <c:v>0.0807005221724716</c:v>
                </c:pt>
                <c:pt idx="4">
                  <c:v>0.11163072602442557</c:v>
                </c:pt>
                <c:pt idx="5">
                  <c:v>0.07724748727348385</c:v>
                </c:pt>
                <c:pt idx="6">
                  <c:v>0.09324251110195274</c:v>
                </c:pt>
                <c:pt idx="7">
                  <c:v>0.08206234525895145</c:v>
                </c:pt>
                <c:pt idx="8">
                  <c:v>0.08726325583284571</c:v>
                </c:pt>
                <c:pt idx="9">
                  <c:v>0.08251353820488037</c:v>
                </c:pt>
                <c:pt idx="10">
                  <c:v>0.08505029924869477</c:v>
                </c:pt>
                <c:pt idx="11">
                  <c:v>0.09796697826301178</c:v>
                </c:pt>
                <c:pt idx="12">
                  <c:v>0.09130194459527566</c:v>
                </c:pt>
                <c:pt idx="13">
                  <c:v>0.08995370427876093</c:v>
                </c:pt>
                <c:pt idx="14">
                  <c:v>0.08747358038607862</c:v>
                </c:pt>
                <c:pt idx="15">
                  <c:v>0.08306071341393326</c:v>
                </c:pt>
                <c:pt idx="16">
                  <c:v>0.08934581444031038</c:v>
                </c:pt>
                <c:pt idx="17">
                  <c:v>0.09026844267775477</c:v>
                </c:pt>
                <c:pt idx="18">
                  <c:v>0.09377091451360803</c:v>
                </c:pt>
                <c:pt idx="19">
                  <c:v>0.08806148660971158</c:v>
                </c:pt>
                <c:pt idx="20">
                  <c:v>0.08806174709658804</c:v>
                </c:pt>
                <c:pt idx="21">
                  <c:v>0.08340052021318195</c:v>
                </c:pt>
                <c:pt idx="22">
                  <c:v>0.07785760715128018</c:v>
                </c:pt>
                <c:pt idx="23">
                  <c:v>0.09151948025993152</c:v>
                </c:pt>
                <c:pt idx="24">
                  <c:v>0.0872886275970746</c:v>
                </c:pt>
                <c:pt idx="25">
                  <c:v>0.08768610653194969</c:v>
                </c:pt>
                <c:pt idx="26">
                  <c:v>0.07655538658128337</c:v>
                </c:pt>
                <c:pt idx="27">
                  <c:v>0.08727628551295281</c:v>
                </c:pt>
                <c:pt idx="28">
                  <c:v>0.09040856683965845</c:v>
                </c:pt>
                <c:pt idx="29">
                  <c:v>0.09274160524944107</c:v>
                </c:pt>
                <c:pt idx="30">
                  <c:v>0.08696801498503767</c:v>
                </c:pt>
                <c:pt idx="31">
                  <c:v>0.08095927699694141</c:v>
                </c:pt>
                <c:pt idx="32">
                  <c:v>0.07849696342817634</c:v>
                </c:pt>
                <c:pt idx="33">
                  <c:v>0.08579762055153861</c:v>
                </c:pt>
                <c:pt idx="34">
                  <c:v>0.09038130321733102</c:v>
                </c:pt>
                <c:pt idx="35">
                  <c:v>0.09141816898675949</c:v>
                </c:pt>
                <c:pt idx="36">
                  <c:v>0.06789309647198916</c:v>
                </c:pt>
                <c:pt idx="37">
                  <c:v>0.09422090936782478</c:v>
                </c:pt>
                <c:pt idx="38">
                  <c:v>0.06490910215520942</c:v>
                </c:pt>
                <c:pt idx="39">
                  <c:v>0.09418245733140403</c:v>
                </c:pt>
                <c:pt idx="40">
                  <c:v>0.08549027168586623</c:v>
                </c:pt>
                <c:pt idx="41">
                  <c:v>0.0819216061319728</c:v>
                </c:pt>
                <c:pt idx="42">
                  <c:v>0.09343967092154053</c:v>
                </c:pt>
                <c:pt idx="43">
                  <c:v>0.09151636405950295</c:v>
                </c:pt>
                <c:pt idx="44">
                  <c:v>0.08448649794584345</c:v>
                </c:pt>
                <c:pt idx="45">
                  <c:v>0.0829750681686038</c:v>
                </c:pt>
                <c:pt idx="46">
                  <c:v>0.09356579862654749</c:v>
                </c:pt>
                <c:pt idx="47">
                  <c:v>0.08484861746278345</c:v>
                </c:pt>
                <c:pt idx="48">
                  <c:v>0.08724532228708723</c:v>
                </c:pt>
                <c:pt idx="49">
                  <c:v>0.08743823415046044</c:v>
                </c:pt>
                <c:pt idx="50">
                  <c:v>0.09318356788959194</c:v>
                </c:pt>
                <c:pt idx="51">
                  <c:v>0.0802112072051759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0.2702380236804232</c:v>
                </c:pt>
              </c:numCache>
            </c:numRef>
          </c:xVal>
          <c:yVal>
            <c:numRef>
              <c:f>Sheet1!$B$102:$B$103</c:f>
              <c:numCache>
                <c:formatCode>General</c:formatCode>
                <c:ptCount val="2"/>
                <c:pt idx="0">
                  <c:v>0.09740835367204023</c:v>
                </c:pt>
                <c:pt idx="1">
                  <c:v>0.0974083536720402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0.2702380236804232</c:v>
                </c:pt>
                <c:pt idx="1">
                  <c:v>-0.2702380236804232</c:v>
                </c:pt>
              </c:numCache>
            </c:numRef>
          </c:xVal>
          <c:yVal>
            <c:numRef>
              <c:f>Sheet1!$B$106:$B$107</c:f>
              <c:numCache>
                <c:formatCode>General</c:formatCode>
                <c:ptCount val="2"/>
                <c:pt idx="0">
                  <c:v>0.097408353672040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8651145195411072</c:v>
                </c:pt>
              </c:numCache>
            </c:numRef>
          </c:xVal>
          <c:yVal>
            <c:numRef>
              <c:f>Sheet1!$B$110:$B$111</c:f>
              <c:numCache>
                <c:formatCode>General</c:formatCode>
                <c:ptCount val="2"/>
                <c:pt idx="0">
                  <c:v>0.08801568186762883</c:v>
                </c:pt>
                <c:pt idx="1">
                  <c:v>0.0880156818676288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8651145195411072</c:v>
                </c:pt>
                <c:pt idx="1">
                  <c:v>1.8651145195411072</c:v>
                </c:pt>
              </c:numCache>
            </c:numRef>
          </c:xVal>
          <c:yVal>
            <c:numRef>
              <c:f>Sheet1!$B$114:$B$115</c:f>
              <c:numCache>
                <c:formatCode>General</c:formatCode>
                <c:ptCount val="2"/>
                <c:pt idx="0">
                  <c:v>0.088015681867628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9298053310980166</c:v>
                </c:pt>
              </c:numCache>
            </c:numRef>
          </c:xVal>
          <c:yVal>
            <c:numRef>
              <c:f>Sheet1!$B$118:$B$119</c:f>
              <c:numCache>
                <c:formatCode>General</c:formatCode>
                <c:ptCount val="2"/>
                <c:pt idx="0">
                  <c:v>0.0877311295281831</c:v>
                </c:pt>
                <c:pt idx="1">
                  <c:v>0.087731129528183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9298053310980166</c:v>
                </c:pt>
                <c:pt idx="1">
                  <c:v>1.9298053310980166</c:v>
                </c:pt>
              </c:numCache>
            </c:numRef>
          </c:xVal>
          <c:yVal>
            <c:numRef>
              <c:f>Sheet1!$B$122:$B$123</c:f>
              <c:numCache>
                <c:formatCode>General</c:formatCode>
                <c:ptCount val="2"/>
                <c:pt idx="0">
                  <c:v>0.087731129528183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pt idx="52">
                  <c:v>1.8651145195411072</c:v>
                </c:pt>
                <c:pt idx="53">
                  <c:v>-0.2702380236804232</c:v>
                </c:pt>
                <c:pt idx="54">
                  <c:v>1.9298053310980166</c:v>
                </c:pt>
              </c:numCache>
            </c:numRef>
          </c:xVal>
          <c:yVal>
            <c:numRef>
              <c:f>Sheet1!$B$126:$B$180</c:f>
              <c:numCache>
                <c:formatCode>General</c:formatCode>
                <c:ptCount val="55"/>
                <c:pt idx="0">
                  <c:v>0.08649161296702737</c:v>
                </c:pt>
                <c:pt idx="1">
                  <c:v>0.08645202510294935</c:v>
                </c:pt>
                <c:pt idx="2">
                  <c:v>0.08624396888396155</c:v>
                </c:pt>
                <c:pt idx="3">
                  <c:v>0.08632622366821253</c:v>
                </c:pt>
                <c:pt idx="4">
                  <c:v>0.08630642973617353</c:v>
                </c:pt>
                <c:pt idx="5">
                  <c:v>0.08623165265958171</c:v>
                </c:pt>
                <c:pt idx="6">
                  <c:v>0.08631522703930197</c:v>
                </c:pt>
                <c:pt idx="7">
                  <c:v>0.08602667549668887</c:v>
                </c:pt>
                <c:pt idx="8">
                  <c:v>0.08602799509215814</c:v>
                </c:pt>
                <c:pt idx="9">
                  <c:v>0.08625804456896706</c:v>
                </c:pt>
                <c:pt idx="10">
                  <c:v>0.08627475944491111</c:v>
                </c:pt>
                <c:pt idx="11">
                  <c:v>0.08647313863045762</c:v>
                </c:pt>
                <c:pt idx="12">
                  <c:v>0.08694863286455025</c:v>
                </c:pt>
                <c:pt idx="13">
                  <c:v>0.08620482088503995</c:v>
                </c:pt>
                <c:pt idx="14">
                  <c:v>0.08625408578255926</c:v>
                </c:pt>
                <c:pt idx="15">
                  <c:v>0.0862452884794308</c:v>
                </c:pt>
                <c:pt idx="16">
                  <c:v>0.08631478717414555</c:v>
                </c:pt>
                <c:pt idx="17">
                  <c:v>0.08647137916983193</c:v>
                </c:pt>
                <c:pt idx="18">
                  <c:v>0.08682854967684693</c:v>
                </c:pt>
                <c:pt idx="19">
                  <c:v>0.08665568267037292</c:v>
                </c:pt>
                <c:pt idx="20">
                  <c:v>0.08644234806950805</c:v>
                </c:pt>
                <c:pt idx="21">
                  <c:v>0.08625188645677714</c:v>
                </c:pt>
                <c:pt idx="22">
                  <c:v>0.08627563917522396</c:v>
                </c:pt>
                <c:pt idx="23">
                  <c:v>0.08665348334459082</c:v>
                </c:pt>
                <c:pt idx="24">
                  <c:v>0.08703176737911408</c:v>
                </c:pt>
                <c:pt idx="25">
                  <c:v>0.08689320985484103</c:v>
                </c:pt>
                <c:pt idx="26">
                  <c:v>0.08693147812344978</c:v>
                </c:pt>
                <c:pt idx="27">
                  <c:v>0.0870594788839687</c:v>
                </c:pt>
                <c:pt idx="28">
                  <c:v>0.08632446420758684</c:v>
                </c:pt>
                <c:pt idx="29">
                  <c:v>0.08636185274588275</c:v>
                </c:pt>
                <c:pt idx="30">
                  <c:v>0.08651360622484848</c:v>
                </c:pt>
                <c:pt idx="31">
                  <c:v>0.08656199139205495</c:v>
                </c:pt>
                <c:pt idx="32">
                  <c:v>0.08648589471999388</c:v>
                </c:pt>
                <c:pt idx="33">
                  <c:v>0.08598576803714159</c:v>
                </c:pt>
                <c:pt idx="34">
                  <c:v>0.08655451368439576</c:v>
                </c:pt>
                <c:pt idx="35">
                  <c:v>0.08682151183434417</c:v>
                </c:pt>
                <c:pt idx="36">
                  <c:v>0.08699613830144387</c:v>
                </c:pt>
                <c:pt idx="37">
                  <c:v>0.08706827618709714</c:v>
                </c:pt>
                <c:pt idx="38">
                  <c:v>0.0864982109443737</c:v>
                </c:pt>
                <c:pt idx="39">
                  <c:v>0.08653208056141823</c:v>
                </c:pt>
                <c:pt idx="40">
                  <c:v>0.08711930054524215</c:v>
                </c:pt>
                <c:pt idx="41">
                  <c:v>0.0874223676380172</c:v>
                </c:pt>
                <c:pt idx="42">
                  <c:v>0.0877188367534459</c:v>
                </c:pt>
                <c:pt idx="43">
                  <c:v>0.08769068538343487</c:v>
                </c:pt>
                <c:pt idx="44">
                  <c:v>0.0872811709228056</c:v>
                </c:pt>
                <c:pt idx="45">
                  <c:v>0.08699569843628745</c:v>
                </c:pt>
                <c:pt idx="46">
                  <c:v>0.08755652651072603</c:v>
                </c:pt>
                <c:pt idx="47">
                  <c:v>0.08835180271353776</c:v>
                </c:pt>
                <c:pt idx="48">
                  <c:v>0.08822688100911379</c:v>
                </c:pt>
                <c:pt idx="49">
                  <c:v>0.08834784392712995</c:v>
                </c:pt>
                <c:pt idx="50">
                  <c:v>0.08718572018386193</c:v>
                </c:pt>
                <c:pt idx="51">
                  <c:v>0.08699217951503607</c:v>
                </c:pt>
                <c:pt idx="52">
                  <c:v>0.08801568186762883</c:v>
                </c:pt>
                <c:pt idx="53">
                  <c:v>0.09740835367204023</c:v>
                </c:pt>
                <c:pt idx="54">
                  <c:v>0.087731129528183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656579700662466"/>
          <c:min val="0.0519272817241675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8521420030511689</c:v>
                </c:pt>
                <c:pt idx="1">
                  <c:v>0.8522122799059832</c:v>
                </c:pt>
                <c:pt idx="2">
                  <c:v>0.8021030927835052</c:v>
                </c:pt>
                <c:pt idx="3">
                  <c:v>0.7667628865979382</c:v>
                </c:pt>
                <c:pt idx="4">
                  <c:v>0.7666996536368135</c:v>
                </c:pt>
                <c:pt idx="5">
                  <c:v>0.7667312688136572</c:v>
                </c:pt>
                <c:pt idx="6">
                  <c:v>0.7815850239155534</c:v>
                </c:pt>
                <c:pt idx="7">
                  <c:v>0.8521771400296884</c:v>
                </c:pt>
                <c:pt idx="8">
                  <c:v>0.8522474226804124</c:v>
                </c:pt>
                <c:pt idx="9">
                  <c:v>0.8522474226804124</c:v>
                </c:pt>
                <c:pt idx="10">
                  <c:v>0.8522825683533342</c:v>
                </c:pt>
                <c:pt idx="11">
                  <c:v>0.8518762886597938</c:v>
                </c:pt>
                <c:pt idx="12">
                  <c:v>0.8521771400296884</c:v>
                </c:pt>
                <c:pt idx="13">
                  <c:v>0.7875314394095575</c:v>
                </c:pt>
              </c:numCache>
            </c:numRef>
          </c:xVal>
          <c:yVal>
            <c:numRef>
              <c:f>Sheet1!$B$2:$B$15</c:f>
              <c:numCache>
                <c:formatCode>General</c:formatCode>
                <c:ptCount val="1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8601133764741868</c:v>
                </c:pt>
              </c:numCache>
            </c:numRef>
          </c:xVal>
          <c:yVal>
            <c:numRef>
              <c:f>Sheet1!$B$20:$B$21</c:f>
              <c:numCache>
                <c:formatCode>General</c:formatCode>
                <c:ptCount val="2"/>
                <c:pt idx="0">
                  <c:v>0.08601133764741868</c:v>
                </c:pt>
                <c:pt idx="1">
                  <c:v>0.08601133764741868</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8601133764741868</c:v>
                </c:pt>
                <c:pt idx="1">
                  <c:v>0.08601133764741868</c:v>
                </c:pt>
              </c:numCache>
            </c:numRef>
          </c:xVal>
          <c:yVal>
            <c:numRef>
              <c:f>Sheet1!$B$24:$B$25</c:f>
              <c:numCache>
                <c:formatCode>General</c:formatCode>
                <c:ptCount val="2"/>
                <c:pt idx="0">
                  <c:v>0.0860113376474186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8601133764741868</c:v>
                </c:pt>
                <c:pt idx="2">
                  <c:v>0</c:v>
                </c:pt>
              </c:numCache>
            </c:numRef>
          </c:xVal>
          <c:yVal>
            <c:numRef>
              <c:f>Sheet1!$B$28:$B$30</c:f>
              <c:numCache>
                <c:formatCode>General</c:formatCode>
                <c:ptCount val="3"/>
                <c:pt idx="0">
                  <c:v>0</c:v>
                </c:pt>
                <c:pt idx="1">
                  <c:v>0.08601133764741868</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982984821814871"/>
          <c:min val="0.0567692086715766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0667</c:v>
                </c:pt>
                <c:pt idx="1">
                  <c:v>2.0667</c:v>
                </c:pt>
                <c:pt idx="2">
                  <c:v>1.9451</c:v>
                </c:pt>
                <c:pt idx="3">
                  <c:v>1.8594</c:v>
                </c:pt>
                <c:pt idx="4">
                  <c:v>1.8594</c:v>
                </c:pt>
                <c:pt idx="5">
                  <c:v>1.8594</c:v>
                </c:pt>
                <c:pt idx="6">
                  <c:v>1.8955</c:v>
                </c:pt>
                <c:pt idx="7">
                  <c:v>2.0667</c:v>
                </c:pt>
                <c:pt idx="8">
                  <c:v>2.0667</c:v>
                </c:pt>
                <c:pt idx="9">
                  <c:v>2.0667</c:v>
                </c:pt>
                <c:pt idx="10">
                  <c:v>2.0667</c:v>
                </c:pt>
                <c:pt idx="11">
                  <c:v>2.0658</c:v>
                </c:pt>
                <c:pt idx="12">
                  <c:v>2.0667</c:v>
                </c:pt>
                <c:pt idx="13">
                  <c:v>1.91</c:v>
                </c:pt>
              </c:numCache>
            </c:numRef>
          </c:xVal>
          <c:yVal>
            <c:numRef>
              <c:f>Sheet1!$B$2:$B$15</c:f>
              <c:numCache>
                <c:formatCode>General</c:formatCode>
                <c:ptCount val="1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8601133764741868</c:v>
                </c:pt>
              </c:numCache>
            </c:numRef>
          </c:xVal>
          <c:yVal>
            <c:numRef>
              <c:f>Sheet1!$B$20:$B$21</c:f>
              <c:numCache>
                <c:formatCode>General</c:formatCode>
                <c:ptCount val="2"/>
                <c:pt idx="0">
                  <c:v>0.08601133764741868</c:v>
                </c:pt>
                <c:pt idx="1">
                  <c:v>0.08601133764741868</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8601133764741868</c:v>
                </c:pt>
                <c:pt idx="1">
                  <c:v>0.08601133764741868</c:v>
                </c:pt>
              </c:numCache>
            </c:numRef>
          </c:xVal>
          <c:yVal>
            <c:numRef>
              <c:f>Sheet1!$B$24:$B$25</c:f>
              <c:numCache>
                <c:formatCode>General</c:formatCode>
                <c:ptCount val="2"/>
                <c:pt idx="0">
                  <c:v>0.0860113376474186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8601133764741868</c:v>
                </c:pt>
                <c:pt idx="2">
                  <c:v>0</c:v>
                </c:pt>
              </c:numCache>
            </c:numRef>
          </c:xVal>
          <c:yVal>
            <c:numRef>
              <c:f>Sheet1!$B$28:$B$30</c:f>
              <c:numCache>
                <c:formatCode>General</c:formatCode>
                <c:ptCount val="3"/>
                <c:pt idx="0">
                  <c:v>0</c:v>
                </c:pt>
                <c:pt idx="1">
                  <c:v>0.08601133764741868</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982984821814871"/>
          <c:min val="0.0567692086715766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4195677494499808</c:v>
                </c:pt>
                <c:pt idx="1">
                  <c:v>1.4167026140971442</c:v>
                </c:pt>
                <c:pt idx="2">
                  <c:v>1.4225260978345267</c:v>
                </c:pt>
                <c:pt idx="3">
                  <c:v>1.4192908290915365</c:v>
                </c:pt>
                <c:pt idx="4">
                  <c:v>1.4196359244241221</c:v>
                </c:pt>
                <c:pt idx="5">
                  <c:v>1.4181261323440602</c:v>
                </c:pt>
                <c:pt idx="6">
                  <c:v>1.4213182641704771</c:v>
                </c:pt>
                <c:pt idx="7">
                  <c:v>1.4195496505909757</c:v>
                </c:pt>
                <c:pt idx="8">
                  <c:v>1.4191182814252437</c:v>
                </c:pt>
                <c:pt idx="9">
                  <c:v>1.4189025968423776</c:v>
                </c:pt>
                <c:pt idx="10">
                  <c:v>1.4197221982572685</c:v>
                </c:pt>
                <c:pt idx="11">
                  <c:v>1.4186869122595118</c:v>
                </c:pt>
                <c:pt idx="12">
                  <c:v>1.4191614183418169</c:v>
                </c:pt>
                <c:pt idx="13">
                  <c:v>1.4201104305064274</c:v>
                </c:pt>
                <c:pt idx="14">
                  <c:v>1.4201104305064274</c:v>
                </c:pt>
                <c:pt idx="15">
                  <c:v>1.4194633767578293</c:v>
                </c:pt>
                <c:pt idx="16">
                  <c:v>1.4182986800103528</c:v>
                </c:pt>
                <c:pt idx="17">
                  <c:v>1.4186437753429384</c:v>
                </c:pt>
                <c:pt idx="18">
                  <c:v>1.420689357663604</c:v>
                </c:pt>
                <c:pt idx="19">
                  <c:v>1.4101889396945906</c:v>
                </c:pt>
                <c:pt idx="20">
                  <c:v>1.4165732033474248</c:v>
                </c:pt>
                <c:pt idx="21">
                  <c:v>1.4193771029246829</c:v>
                </c:pt>
                <c:pt idx="22">
                  <c:v>1.4188163230092312</c:v>
                </c:pt>
                <c:pt idx="23">
                  <c:v>1.4183849538434992</c:v>
                </c:pt>
                <c:pt idx="24">
                  <c:v>1.4217496333362092</c:v>
                </c:pt>
                <c:pt idx="25">
                  <c:v>1.4177810370114745</c:v>
                </c:pt>
                <c:pt idx="26">
                  <c:v>1.4181692692606331</c:v>
                </c:pt>
                <c:pt idx="27">
                  <c:v>1.421102579587611</c:v>
                </c:pt>
                <c:pt idx="28">
                  <c:v>1.417694763178328</c:v>
                </c:pt>
                <c:pt idx="29">
                  <c:v>1.4192476921749633</c:v>
                </c:pt>
                <c:pt idx="30">
                  <c:v>1.4194383331176395</c:v>
                </c:pt>
                <c:pt idx="31">
                  <c:v>1.366361832456216</c:v>
                </c:pt>
                <c:pt idx="32">
                  <c:v>1.151885083254249</c:v>
                </c:pt>
                <c:pt idx="33">
                  <c:v>1.14934000517643</c:v>
                </c:pt>
                <c:pt idx="34">
                  <c:v>1.2257786213441464</c:v>
                </c:pt>
                <c:pt idx="35">
                  <c:v>1.417910447761194</c:v>
                </c:pt>
                <c:pt idx="36">
                  <c:v>1.4181010310167812</c:v>
                </c:pt>
                <c:pt idx="37">
                  <c:v>1.4204123889224398</c:v>
                </c:pt>
                <c:pt idx="38">
                  <c:v>1.4179535846777673</c:v>
                </c:pt>
                <c:pt idx="39">
                  <c:v>1.4182555430937795</c:v>
                </c:pt>
                <c:pt idx="40">
                  <c:v>1.4202829781727202</c:v>
                </c:pt>
                <c:pt idx="41">
                  <c:v>1.4208437580881719</c:v>
                </c:pt>
                <c:pt idx="42">
                  <c:v>1.418341816926926</c:v>
                </c:pt>
                <c:pt idx="43">
                  <c:v>1.4190320075920972</c:v>
                </c:pt>
              </c:numCache>
            </c:numRef>
          </c:xVal>
          <c:yVal>
            <c:numRef>
              <c:f>Sheet1!$B$2:$B$45</c:f>
              <c:numCache>
                <c:formatCode>General</c:formatCode>
                <c:ptCount val="4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pt idx="14">
                  <c:v>0.05538392984813065</c:v>
                </c:pt>
                <c:pt idx="15">
                  <c:v>0.05828294415929802</c:v>
                </c:pt>
                <c:pt idx="16">
                  <c:v>0.053174899085142</c:v>
                </c:pt>
                <c:pt idx="17">
                  <c:v>0.04913188061551172</c:v>
                </c:pt>
                <c:pt idx="18">
                  <c:v>0.055863721403485736</c:v>
                </c:pt>
                <c:pt idx="19">
                  <c:v>0.050590954235394545</c:v>
                </c:pt>
                <c:pt idx="20">
                  <c:v>0.06798389001580384</c:v>
                </c:pt>
                <c:pt idx="21">
                  <c:v>0.04307188634985129</c:v>
                </c:pt>
                <c:pt idx="22">
                  <c:v>0.04777148485594681</c:v>
                </c:pt>
                <c:pt idx="23">
                  <c:v>0.0517479723520716</c:v>
                </c:pt>
                <c:pt idx="24">
                  <c:v>0.04176463143559459</c:v>
                </c:pt>
                <c:pt idx="25">
                  <c:v>0.05384797906582677</c:v>
                </c:pt>
                <c:pt idx="26">
                  <c:v>0.046092501321208644</c:v>
                </c:pt>
                <c:pt idx="27">
                  <c:v>0.048080242903784674</c:v>
                </c:pt>
                <c:pt idx="28">
                  <c:v>0.042785042757448405</c:v>
                </c:pt>
                <c:pt idx="29">
                  <c:v>0.048140329292901046</c:v>
                </c:pt>
                <c:pt idx="30">
                  <c:v>0.051908776584849804</c:v>
                </c:pt>
                <c:pt idx="31">
                  <c:v>0.06537925618067249</c:v>
                </c:pt>
                <c:pt idx="32">
                  <c:v>0.06278425626568616</c:v>
                </c:pt>
                <c:pt idx="33">
                  <c:v>0.06544052671578585</c:v>
                </c:pt>
                <c:pt idx="34">
                  <c:v>0.0640710484445045</c:v>
                </c:pt>
                <c:pt idx="35">
                  <c:v>0.048884002347338674</c:v>
                </c:pt>
                <c:pt idx="36">
                  <c:v>0.06080029369950869</c:v>
                </c:pt>
                <c:pt idx="37">
                  <c:v>0.047626836781985225</c:v>
                </c:pt>
                <c:pt idx="38">
                  <c:v>0.053987691570608065</c:v>
                </c:pt>
                <c:pt idx="39">
                  <c:v>0.05471250321078566</c:v>
                </c:pt>
                <c:pt idx="40">
                  <c:v>0.05118422268216348</c:v>
                </c:pt>
                <c:pt idx="41">
                  <c:v>0.048358942818840414</c:v>
                </c:pt>
                <c:pt idx="42">
                  <c:v>0.05865241708849174</c:v>
                </c:pt>
                <c:pt idx="43">
                  <c:v>0.0558834671225175</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4415063411267361</c:v>
                </c:pt>
                <c:pt idx="1">
                  <c:v>1.4305064274005692</c:v>
                </c:pt>
                <c:pt idx="2">
                  <c:v>1.4308946596497283</c:v>
                </c:pt>
                <c:pt idx="3">
                  <c:v>1.4308946596497283</c:v>
                </c:pt>
                <c:pt idx="4">
                  <c:v>1.431498576481753</c:v>
                </c:pt>
                <c:pt idx="5">
                  <c:v>1.4313260288154601</c:v>
                </c:pt>
                <c:pt idx="6">
                  <c:v>1.427659390906738</c:v>
                </c:pt>
                <c:pt idx="7">
                  <c:v>1.47670606505047</c:v>
                </c:pt>
                <c:pt idx="8">
                  <c:v>1.491717712017945</c:v>
                </c:pt>
                <c:pt idx="9">
                  <c:v>1.4904236045207488</c:v>
                </c:pt>
                <c:pt idx="10">
                  <c:v>1.4874250463741858</c:v>
                </c:pt>
                <c:pt idx="11">
                  <c:v>1.3405228194288672</c:v>
                </c:pt>
                <c:pt idx="12">
                  <c:v>1.211759123457855</c:v>
                </c:pt>
                <c:pt idx="13">
                  <c:v>1.2119748080407213</c:v>
                </c:pt>
                <c:pt idx="14">
                  <c:v>1.3365973600207057</c:v>
                </c:pt>
                <c:pt idx="15">
                  <c:v>1.4852903114485376</c:v>
                </c:pt>
                <c:pt idx="16">
                  <c:v>1.489129497023553</c:v>
                </c:pt>
                <c:pt idx="17">
                  <c:v>1.43145543956518</c:v>
                </c:pt>
                <c:pt idx="18">
                  <c:v>1.331766025364507</c:v>
                </c:pt>
                <c:pt idx="19">
                  <c:v>1.3310758346993357</c:v>
                </c:pt>
                <c:pt idx="20">
                  <c:v>1.4101889396945906</c:v>
                </c:pt>
                <c:pt idx="21">
                  <c:v>1.4905530152704685</c:v>
                </c:pt>
                <c:pt idx="22">
                  <c:v>1.488784401690967</c:v>
                </c:pt>
                <c:pt idx="23">
                  <c:v>1.4909192873473969</c:v>
                </c:pt>
                <c:pt idx="24">
                  <c:v>1.486627555862307</c:v>
                </c:pt>
                <c:pt idx="25">
                  <c:v>1.4905961521870417</c:v>
                </c:pt>
                <c:pt idx="26">
                  <c:v>1.4559572081787593</c:v>
                </c:pt>
                <c:pt idx="27">
                  <c:v>1.4516003796048658</c:v>
                </c:pt>
                <c:pt idx="28">
                  <c:v>1.45569838667932</c:v>
                </c:pt>
                <c:pt idx="29">
                  <c:v>1.4525493917694763</c:v>
                </c:pt>
                <c:pt idx="30">
                  <c:v>1.4546199637649901</c:v>
                </c:pt>
                <c:pt idx="31">
                  <c:v>1.4538003623500992</c:v>
                </c:pt>
                <c:pt idx="32">
                  <c:v>1.4568199465102236</c:v>
                </c:pt>
                <c:pt idx="33">
                  <c:v>1.4505413916569605</c:v>
                </c:pt>
                <c:pt idx="34">
                  <c:v>1.3679578983694245</c:v>
                </c:pt>
                <c:pt idx="35">
                  <c:v>1.2972564921059442</c:v>
                </c:pt>
                <c:pt idx="36">
                  <c:v>1.2970408075230784</c:v>
                </c:pt>
                <c:pt idx="37">
                  <c:v>1.2950996462772841</c:v>
                </c:pt>
                <c:pt idx="38">
                  <c:v>1.3853420757484254</c:v>
                </c:pt>
                <c:pt idx="39">
                  <c:v>1.4522474333534638</c:v>
                </c:pt>
                <c:pt idx="40">
                  <c:v>1.4540591838495385</c:v>
                </c:pt>
                <c:pt idx="41">
                  <c:v>1.3673698287390537</c:v>
                </c:pt>
                <c:pt idx="42">
                  <c:v>1.2982055042705547</c:v>
                </c:pt>
                <c:pt idx="43">
                  <c:v>1.3052799585885602</c:v>
                </c:pt>
                <c:pt idx="44">
                  <c:v>1.3724441376930376</c:v>
                </c:pt>
                <c:pt idx="45">
                  <c:v>1.452506254852903</c:v>
                </c:pt>
                <c:pt idx="46">
                  <c:v>1.4509533258562677</c:v>
                </c:pt>
                <c:pt idx="47">
                  <c:v>1.449270986109913</c:v>
                </c:pt>
                <c:pt idx="48">
                  <c:v>1.4587179708394444</c:v>
                </c:pt>
                <c:pt idx="49">
                  <c:v>1.4560631551701826</c:v>
                </c:pt>
                <c:pt idx="50">
                  <c:v>1.4521375264225014</c:v>
                </c:pt>
                <c:pt idx="51">
                  <c:v>1.452506254852903</c:v>
                </c:pt>
              </c:numCache>
            </c:numRef>
          </c:xVal>
          <c:yVal>
            <c:numRef>
              <c:f>Sheet1!$B$48:$B$99</c:f>
              <c:numCache>
                <c:formatCode>General</c:formatCode>
                <c:ptCount val="52"/>
                <c:pt idx="0">
                  <c:v>0.05420836453582045</c:v>
                </c:pt>
                <c:pt idx="1">
                  <c:v>0.0632999984697695</c:v>
                </c:pt>
                <c:pt idx="2">
                  <c:v>0.05925752996827015</c:v>
                </c:pt>
                <c:pt idx="3">
                  <c:v>0.0496586438566346</c:v>
                </c:pt>
                <c:pt idx="4">
                  <c:v>0.07114840026032047</c:v>
                </c:pt>
                <c:pt idx="5">
                  <c:v>0.05272748085173168</c:v>
                </c:pt>
                <c:pt idx="6">
                  <c:v>0.058816038675082075</c:v>
                </c:pt>
                <c:pt idx="7">
                  <c:v>0.05816960342855488</c:v>
                </c:pt>
                <c:pt idx="8">
                  <c:v>0.0544335466215127</c:v>
                </c:pt>
                <c:pt idx="9">
                  <c:v>0.05418459623710726</c:v>
                </c:pt>
                <c:pt idx="10">
                  <c:v>0.054439209360895344</c:v>
                </c:pt>
                <c:pt idx="11">
                  <c:v>0.06509475315249193</c:v>
                </c:pt>
                <c:pt idx="12">
                  <c:v>0.07719145570102388</c:v>
                </c:pt>
                <c:pt idx="13">
                  <c:v>0.06118700880665636</c:v>
                </c:pt>
                <c:pt idx="14">
                  <c:v>0.04205642082635637</c:v>
                </c:pt>
                <c:pt idx="15">
                  <c:v>0.0561426982849807</c:v>
                </c:pt>
                <c:pt idx="16">
                  <c:v>0.05987578068559791</c:v>
                </c:pt>
                <c:pt idx="17">
                  <c:v>0.06697624399836156</c:v>
                </c:pt>
                <c:pt idx="18">
                  <c:v>0.06581733655274627</c:v>
                </c:pt>
                <c:pt idx="19">
                  <c:v>0.055543224555059015</c:v>
                </c:pt>
                <c:pt idx="20">
                  <c:v>0.055860924763759645</c:v>
                </c:pt>
                <c:pt idx="21">
                  <c:v>0.05317026876216504</c:v>
                </c:pt>
                <c:pt idx="22">
                  <c:v>0.08856011202956435</c:v>
                </c:pt>
                <c:pt idx="23">
                  <c:v>0.04101592826209609</c:v>
                </c:pt>
                <c:pt idx="24">
                  <c:v>0.04567560989869353</c:v>
                </c:pt>
                <c:pt idx="25">
                  <c:v>0.06548891470308821</c:v>
                </c:pt>
                <c:pt idx="26">
                  <c:v>0.04951583202553725</c:v>
                </c:pt>
                <c:pt idx="27">
                  <c:v>0.04963514375503034</c:v>
                </c:pt>
                <c:pt idx="28">
                  <c:v>0.0507703183895801</c:v>
                </c:pt>
                <c:pt idx="29">
                  <c:v>0.06191193118107066</c:v>
                </c:pt>
                <c:pt idx="30">
                  <c:v>0.05442746320687241</c:v>
                </c:pt>
                <c:pt idx="31">
                  <c:v>0.05440549943815836</c:v>
                </c:pt>
                <c:pt idx="32">
                  <c:v>0.06154387876086963</c:v>
                </c:pt>
                <c:pt idx="33">
                  <c:v>0.04988370278444516</c:v>
                </c:pt>
                <c:pt idx="34">
                  <c:v>0.057678884392206246</c:v>
                </c:pt>
                <c:pt idx="35">
                  <c:v>0.05145867400155341</c:v>
                </c:pt>
                <c:pt idx="36">
                  <c:v>0.05964466748077628</c:v>
                </c:pt>
                <c:pt idx="37">
                  <c:v>0.04659211041628804</c:v>
                </c:pt>
                <c:pt idx="38">
                  <c:v>0.061233914297261445</c:v>
                </c:pt>
                <c:pt idx="39">
                  <c:v>0.04883249285860175</c:v>
                </c:pt>
                <c:pt idx="40">
                  <c:v>0.05261612120627882</c:v>
                </c:pt>
                <c:pt idx="41">
                  <c:v>0.06462838677603779</c:v>
                </c:pt>
                <c:pt idx="42">
                  <c:v>0.06754978189956355</c:v>
                </c:pt>
                <c:pt idx="43">
                  <c:v>0.04961431193624792</c:v>
                </c:pt>
                <c:pt idx="44">
                  <c:v>0.041400819190340304</c:v>
                </c:pt>
                <c:pt idx="45">
                  <c:v>0.07141027523588214</c:v>
                </c:pt>
                <c:pt idx="46">
                  <c:v>0.06251667128668337</c:v>
                </c:pt>
                <c:pt idx="47">
                  <c:v>0.06157622892486462</c:v>
                </c:pt>
                <c:pt idx="48">
                  <c:v>0.05123888578626157</c:v>
                </c:pt>
                <c:pt idx="49">
                  <c:v>0.05393478496502304</c:v>
                </c:pt>
                <c:pt idx="50">
                  <c:v>0.05563541156633411</c:v>
                </c:pt>
                <c:pt idx="51">
                  <c:v>0.06201240979438375</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2714151261507465</c:v>
                </c:pt>
              </c:numCache>
            </c:numRef>
          </c:xVal>
          <c:yVal>
            <c:numRef>
              <c:f>Sheet1!$B$102:$B$103</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2714151261507465</c:v>
                </c:pt>
                <c:pt idx="1">
                  <c:v>1.2714151261507465</c:v>
                </c:pt>
              </c:numCache>
            </c:numRef>
          </c:xVal>
          <c:yVal>
            <c:numRef>
              <c:f>Sheet1!$B$106:$B$107</c:f>
              <c:numCache>
                <c:formatCode>General</c:formatCode>
                <c:ptCount val="2"/>
                <c:pt idx="0">
                  <c:v>0.059433047778401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2714151261507465</c:v>
                </c:pt>
              </c:numCache>
            </c:numRef>
          </c:xVal>
          <c:yVal>
            <c:numRef>
              <c:f>Sheet1!$B$110:$B$111</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2714151261507465</c:v>
                </c:pt>
                <c:pt idx="1">
                  <c:v>1.2714151261507465</c:v>
                </c:pt>
              </c:numCache>
            </c:numRef>
          </c:xVal>
          <c:yVal>
            <c:numRef>
              <c:f>Sheet1!$B$114:$B$115</c:f>
              <c:numCache>
                <c:formatCode>General</c:formatCode>
                <c:ptCount val="2"/>
                <c:pt idx="0">
                  <c:v>0.059433047778401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4303168810338327</c:v>
                </c:pt>
              </c:numCache>
            </c:numRef>
          </c:xVal>
          <c:yVal>
            <c:numRef>
              <c:f>Sheet1!$B$118:$B$119</c:f>
              <c:numCache>
                <c:formatCode>General</c:formatCode>
                <c:ptCount val="2"/>
                <c:pt idx="0">
                  <c:v>0.05715127549434636</c:v>
                </c:pt>
                <c:pt idx="1">
                  <c:v>0.0571512754943463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4303168810338327</c:v>
                </c:pt>
                <c:pt idx="1">
                  <c:v>1.4303168810338327</c:v>
                </c:pt>
              </c:numCache>
            </c:numRef>
          </c:xVal>
          <c:yVal>
            <c:numRef>
              <c:f>Sheet1!$B$122:$B$123</c:f>
              <c:numCache>
                <c:formatCode>General</c:formatCode>
                <c:ptCount val="2"/>
                <c:pt idx="0">
                  <c:v>0.05715127549434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4415063411267361</c:v>
                </c:pt>
                <c:pt idx="1">
                  <c:v>1.4305064274005692</c:v>
                </c:pt>
                <c:pt idx="2">
                  <c:v>1.4308946596497283</c:v>
                </c:pt>
                <c:pt idx="3">
                  <c:v>1.4308946596497283</c:v>
                </c:pt>
                <c:pt idx="4">
                  <c:v>1.431498576481753</c:v>
                </c:pt>
                <c:pt idx="5">
                  <c:v>1.4313260288154601</c:v>
                </c:pt>
                <c:pt idx="6">
                  <c:v>1.427659390906738</c:v>
                </c:pt>
                <c:pt idx="7">
                  <c:v>1.47670606505047</c:v>
                </c:pt>
                <c:pt idx="8">
                  <c:v>1.491717712017945</c:v>
                </c:pt>
                <c:pt idx="9">
                  <c:v>1.4904236045207488</c:v>
                </c:pt>
                <c:pt idx="10">
                  <c:v>1.4874250463741858</c:v>
                </c:pt>
                <c:pt idx="11">
                  <c:v>1.3405228194288672</c:v>
                </c:pt>
                <c:pt idx="12">
                  <c:v>1.211759123457855</c:v>
                </c:pt>
                <c:pt idx="13">
                  <c:v>1.2119748080407213</c:v>
                </c:pt>
                <c:pt idx="14">
                  <c:v>1.3365973600207057</c:v>
                </c:pt>
                <c:pt idx="15">
                  <c:v>1.4852903114485376</c:v>
                </c:pt>
                <c:pt idx="16">
                  <c:v>1.489129497023553</c:v>
                </c:pt>
                <c:pt idx="17">
                  <c:v>1.43145543956518</c:v>
                </c:pt>
                <c:pt idx="18">
                  <c:v>1.331766025364507</c:v>
                </c:pt>
                <c:pt idx="19">
                  <c:v>1.3310758346993357</c:v>
                </c:pt>
                <c:pt idx="20">
                  <c:v>1.4101889396945906</c:v>
                </c:pt>
                <c:pt idx="21">
                  <c:v>1.4905530152704685</c:v>
                </c:pt>
                <c:pt idx="22">
                  <c:v>1.488784401690967</c:v>
                </c:pt>
                <c:pt idx="23">
                  <c:v>1.4909192873473969</c:v>
                </c:pt>
                <c:pt idx="24">
                  <c:v>1.486627555862307</c:v>
                </c:pt>
                <c:pt idx="25">
                  <c:v>1.4905961521870417</c:v>
                </c:pt>
                <c:pt idx="26">
                  <c:v>1.4559572081787593</c:v>
                </c:pt>
                <c:pt idx="27">
                  <c:v>1.4516003796048658</c:v>
                </c:pt>
                <c:pt idx="28">
                  <c:v>1.45569838667932</c:v>
                </c:pt>
                <c:pt idx="29">
                  <c:v>1.4525493917694763</c:v>
                </c:pt>
                <c:pt idx="30">
                  <c:v>1.4546199637649901</c:v>
                </c:pt>
                <c:pt idx="31">
                  <c:v>1.4538003623500992</c:v>
                </c:pt>
                <c:pt idx="32">
                  <c:v>1.4568199465102236</c:v>
                </c:pt>
                <c:pt idx="33">
                  <c:v>1.4505413916569605</c:v>
                </c:pt>
                <c:pt idx="34">
                  <c:v>1.3679578983694245</c:v>
                </c:pt>
                <c:pt idx="35">
                  <c:v>1.2972564921059442</c:v>
                </c:pt>
                <c:pt idx="36">
                  <c:v>1.2970408075230784</c:v>
                </c:pt>
                <c:pt idx="37">
                  <c:v>1.2950996462772841</c:v>
                </c:pt>
                <c:pt idx="38">
                  <c:v>1.3853420757484254</c:v>
                </c:pt>
                <c:pt idx="39">
                  <c:v>1.4522474333534638</c:v>
                </c:pt>
                <c:pt idx="40">
                  <c:v>1.4540591838495385</c:v>
                </c:pt>
                <c:pt idx="41">
                  <c:v>1.3673698287390537</c:v>
                </c:pt>
                <c:pt idx="42">
                  <c:v>1.2982055042705547</c:v>
                </c:pt>
                <c:pt idx="43">
                  <c:v>1.3052799585885602</c:v>
                </c:pt>
                <c:pt idx="44">
                  <c:v>1.3724441376930376</c:v>
                </c:pt>
                <c:pt idx="45">
                  <c:v>1.452506254852903</c:v>
                </c:pt>
                <c:pt idx="46">
                  <c:v>1.4509533258562677</c:v>
                </c:pt>
                <c:pt idx="47">
                  <c:v>1.449270986109913</c:v>
                </c:pt>
                <c:pt idx="48">
                  <c:v>1.4587179708394444</c:v>
                </c:pt>
                <c:pt idx="49">
                  <c:v>1.4560631551701826</c:v>
                </c:pt>
                <c:pt idx="50">
                  <c:v>1.4521375264225014</c:v>
                </c:pt>
                <c:pt idx="51">
                  <c:v>1.452506254852903</c:v>
                </c:pt>
                <c:pt idx="52">
                  <c:v>1.2714151261507465</c:v>
                </c:pt>
                <c:pt idx="53">
                  <c:v>1.2714151261507465</c:v>
                </c:pt>
                <c:pt idx="54">
                  <c:v>1.4303168810338327</c:v>
                </c:pt>
              </c:numCache>
            </c:numRef>
          </c:xVal>
          <c:yVal>
            <c:numRef>
              <c:f>Sheet1!$B$126:$B$180</c:f>
              <c:numCache>
                <c:formatCode>General</c:formatCode>
                <c:ptCount val="55"/>
                <c:pt idx="0">
                  <c:v>0.05699059885529785</c:v>
                </c:pt>
                <c:pt idx="1">
                  <c:v>0.0571485536764125</c:v>
                </c:pt>
                <c:pt idx="2">
                  <c:v>0.057142978800373154</c:v>
                </c:pt>
                <c:pt idx="3">
                  <c:v>0.057142978800373154</c:v>
                </c:pt>
                <c:pt idx="4">
                  <c:v>0.057134306770978624</c:v>
                </c:pt>
                <c:pt idx="5">
                  <c:v>0.05713678449366277</c:v>
                </c:pt>
                <c:pt idx="6">
                  <c:v>0.057189436100700985</c:v>
                </c:pt>
                <c:pt idx="7">
                  <c:v>0.05648514342773098</c:v>
                </c:pt>
                <c:pt idx="8">
                  <c:v>0.05626958155420981</c:v>
                </c:pt>
                <c:pt idx="9">
                  <c:v>0.05628816447434094</c:v>
                </c:pt>
                <c:pt idx="10">
                  <c:v>0.056331222695290034</c:v>
                </c:pt>
                <c:pt idx="11">
                  <c:v>0.05844068605619741</c:v>
                </c:pt>
                <c:pt idx="12">
                  <c:v>0.060289686609245344</c:v>
                </c:pt>
                <c:pt idx="13">
                  <c:v>0.060286589455890154</c:v>
                </c:pt>
                <c:pt idx="14">
                  <c:v>0.05849705424726186</c:v>
                </c:pt>
                <c:pt idx="15">
                  <c:v>0.056361876724194446</c:v>
                </c:pt>
                <c:pt idx="16">
                  <c:v>0.05630674739447208</c:v>
                </c:pt>
                <c:pt idx="17">
                  <c:v>0.05713492620164966</c:v>
                </c:pt>
                <c:pt idx="18">
                  <c:v>0.058566430482418094</c:v>
                </c:pt>
                <c:pt idx="19">
                  <c:v>0.0585763413731547</c:v>
                </c:pt>
                <c:pt idx="20">
                  <c:v>0.05744030552247131</c:v>
                </c:pt>
                <c:pt idx="21">
                  <c:v>0.05628630618232783</c:v>
                </c:pt>
                <c:pt idx="22">
                  <c:v>0.05631170283984038</c:v>
                </c:pt>
                <c:pt idx="23">
                  <c:v>0.05628104664649594</c:v>
                </c:pt>
                <c:pt idx="24">
                  <c:v>0.05634267437339227</c:v>
                </c:pt>
                <c:pt idx="25">
                  <c:v>0.056285686751656794</c:v>
                </c:pt>
                <c:pt idx="26">
                  <c:v>0.05678308958050017</c:v>
                </c:pt>
                <c:pt idx="27">
                  <c:v>0.056845652078274994</c:v>
                </c:pt>
                <c:pt idx="28">
                  <c:v>0.0567868061645264</c:v>
                </c:pt>
                <c:pt idx="29">
                  <c:v>0.056832024603512166</c:v>
                </c:pt>
                <c:pt idx="30">
                  <c:v>0.056802291931302346</c:v>
                </c:pt>
                <c:pt idx="31">
                  <c:v>0.05681406111405206</c:v>
                </c:pt>
                <c:pt idx="32">
                  <c:v>0.05677070096707941</c:v>
                </c:pt>
                <c:pt idx="33">
                  <c:v>0.056860858765894376</c:v>
                </c:pt>
                <c:pt idx="34">
                  <c:v>0.05804672814941735</c:v>
                </c:pt>
                <c:pt idx="35">
                  <c:v>0.059061975019248356</c:v>
                </c:pt>
                <c:pt idx="36">
                  <c:v>0.059065072172603546</c:v>
                </c:pt>
                <c:pt idx="37">
                  <c:v>0.05909294655280025</c:v>
                </c:pt>
                <c:pt idx="38">
                  <c:v>0.057797097588989106</c:v>
                </c:pt>
                <c:pt idx="39">
                  <c:v>0.05683636061820943</c:v>
                </c:pt>
                <c:pt idx="40">
                  <c:v>0.05681034453002584</c:v>
                </c:pt>
                <c:pt idx="41">
                  <c:v>0.058055172618672345</c:v>
                </c:pt>
                <c:pt idx="42">
                  <c:v>0.05904834754448553</c:v>
                </c:pt>
                <c:pt idx="43">
                  <c:v>0.05894676091443532</c:v>
                </c:pt>
                <c:pt idx="44">
                  <c:v>0.05798230735962942</c:v>
                </c:pt>
                <c:pt idx="45">
                  <c:v>0.0568326440341832</c:v>
                </c:pt>
                <c:pt idx="46">
                  <c:v>0.05685494353834056</c:v>
                </c:pt>
                <c:pt idx="47">
                  <c:v>0.05687910133451103</c:v>
                </c:pt>
                <c:pt idx="48">
                  <c:v>0.05674344601755375</c:v>
                </c:pt>
                <c:pt idx="49">
                  <c:v>0.05678156821965186</c:v>
                </c:pt>
                <c:pt idx="50">
                  <c:v>0.05683793884237114</c:v>
                </c:pt>
                <c:pt idx="51">
                  <c:v>0.0568326440341832</c:v>
                </c:pt>
                <c:pt idx="52">
                  <c:v>0.05943304777840115</c:v>
                </c:pt>
                <c:pt idx="53">
                  <c:v>0.05943304777840115</c:v>
                </c:pt>
                <c:pt idx="54">
                  <c:v>0.05715127549434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627213443547721"/>
          <c:min val="0.032812742609676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3.2907</c:v>
                </c:pt>
                <c:pt idx="1">
                  <c:v>3.2842</c:v>
                </c:pt>
                <c:pt idx="2">
                  <c:v>3.2977</c:v>
                </c:pt>
                <c:pt idx="3">
                  <c:v>3.2902</c:v>
                </c:pt>
                <c:pt idx="4">
                  <c:v>3.291</c:v>
                </c:pt>
                <c:pt idx="5">
                  <c:v>3.2875</c:v>
                </c:pt>
                <c:pt idx="6">
                  <c:v>3.2949</c:v>
                </c:pt>
                <c:pt idx="7">
                  <c:v>3.2908</c:v>
                </c:pt>
                <c:pt idx="8">
                  <c:v>3.2898</c:v>
                </c:pt>
                <c:pt idx="9">
                  <c:v>3.2893</c:v>
                </c:pt>
                <c:pt idx="10">
                  <c:v>3.2912</c:v>
                </c:pt>
                <c:pt idx="11">
                  <c:v>3.2888</c:v>
                </c:pt>
                <c:pt idx="12">
                  <c:v>3.2899</c:v>
                </c:pt>
                <c:pt idx="13">
                  <c:v>3.2921</c:v>
                </c:pt>
                <c:pt idx="14">
                  <c:v>3.2921</c:v>
                </c:pt>
                <c:pt idx="15">
                  <c:v>3.2906</c:v>
                </c:pt>
                <c:pt idx="16">
                  <c:v>3.2879</c:v>
                </c:pt>
                <c:pt idx="17">
                  <c:v>3.2887</c:v>
                </c:pt>
                <c:pt idx="18">
                  <c:v>3.2933</c:v>
                </c:pt>
                <c:pt idx="19">
                  <c:v>3.2691</c:v>
                </c:pt>
                <c:pt idx="20">
                  <c:v>3.2839</c:v>
                </c:pt>
                <c:pt idx="21">
                  <c:v>3.2904</c:v>
                </c:pt>
                <c:pt idx="22">
                  <c:v>3.2891</c:v>
                </c:pt>
                <c:pt idx="23">
                  <c:v>3.2881</c:v>
                </c:pt>
                <c:pt idx="24">
                  <c:v>3.2959</c:v>
                </c:pt>
                <c:pt idx="25">
                  <c:v>3.2867</c:v>
                </c:pt>
                <c:pt idx="26">
                  <c:v>3.2876</c:v>
                </c:pt>
                <c:pt idx="27">
                  <c:v>3.2944</c:v>
                </c:pt>
                <c:pt idx="28">
                  <c:v>3.2865</c:v>
                </c:pt>
                <c:pt idx="29">
                  <c:v>3.2901</c:v>
                </c:pt>
                <c:pt idx="30">
                  <c:v>3.2904</c:v>
                </c:pt>
                <c:pt idx="31">
                  <c:v>3.1675</c:v>
                </c:pt>
                <c:pt idx="32">
                  <c:v>2.6703</c:v>
                </c:pt>
                <c:pt idx="33">
                  <c:v>2.6644</c:v>
                </c:pt>
                <c:pt idx="34">
                  <c:v>2.8416</c:v>
                </c:pt>
                <c:pt idx="35">
                  <c:v>3.287</c:v>
                </c:pt>
                <c:pt idx="36">
                  <c:v>3.2873</c:v>
                </c:pt>
                <c:pt idx="37">
                  <c:v>3.2928</c:v>
                </c:pt>
                <c:pt idx="38">
                  <c:v>3.2871</c:v>
                </c:pt>
                <c:pt idx="39">
                  <c:v>3.2878</c:v>
                </c:pt>
                <c:pt idx="40">
                  <c:v>3.2925</c:v>
                </c:pt>
                <c:pt idx="41">
                  <c:v>3.2938</c:v>
                </c:pt>
                <c:pt idx="42">
                  <c:v>3.288</c:v>
                </c:pt>
                <c:pt idx="43">
                  <c:v>3.2896</c:v>
                </c:pt>
              </c:numCache>
            </c:numRef>
          </c:xVal>
          <c:yVal>
            <c:numRef>
              <c:f>Sheet1!$B$2:$B$45</c:f>
              <c:numCache>
                <c:formatCode>General</c:formatCode>
                <c:ptCount val="4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pt idx="14">
                  <c:v>0.05538392984813065</c:v>
                </c:pt>
                <c:pt idx="15">
                  <c:v>0.05828294415929802</c:v>
                </c:pt>
                <c:pt idx="16">
                  <c:v>0.053174899085142</c:v>
                </c:pt>
                <c:pt idx="17">
                  <c:v>0.04913188061551172</c:v>
                </c:pt>
                <c:pt idx="18">
                  <c:v>0.055863721403485736</c:v>
                </c:pt>
                <c:pt idx="19">
                  <c:v>0.050590954235394545</c:v>
                </c:pt>
                <c:pt idx="20">
                  <c:v>0.06798389001580384</c:v>
                </c:pt>
                <c:pt idx="21">
                  <c:v>0.04307188634985129</c:v>
                </c:pt>
                <c:pt idx="22">
                  <c:v>0.04777148485594681</c:v>
                </c:pt>
                <c:pt idx="23">
                  <c:v>0.0517479723520716</c:v>
                </c:pt>
                <c:pt idx="24">
                  <c:v>0.04176463143559459</c:v>
                </c:pt>
                <c:pt idx="25">
                  <c:v>0.05384797906582677</c:v>
                </c:pt>
                <c:pt idx="26">
                  <c:v>0.046092501321208644</c:v>
                </c:pt>
                <c:pt idx="27">
                  <c:v>0.048080242903784674</c:v>
                </c:pt>
                <c:pt idx="28">
                  <c:v>0.042785042757448405</c:v>
                </c:pt>
                <c:pt idx="29">
                  <c:v>0.048140329292901046</c:v>
                </c:pt>
                <c:pt idx="30">
                  <c:v>0.051908776584849804</c:v>
                </c:pt>
                <c:pt idx="31">
                  <c:v>0.06537925618067249</c:v>
                </c:pt>
                <c:pt idx="32">
                  <c:v>0.06278425626568616</c:v>
                </c:pt>
                <c:pt idx="33">
                  <c:v>0.06544052671578585</c:v>
                </c:pt>
                <c:pt idx="34">
                  <c:v>0.0640710484445045</c:v>
                </c:pt>
                <c:pt idx="35">
                  <c:v>0.048884002347338674</c:v>
                </c:pt>
                <c:pt idx="36">
                  <c:v>0.06080029369950869</c:v>
                </c:pt>
                <c:pt idx="37">
                  <c:v>0.047626836781985225</c:v>
                </c:pt>
                <c:pt idx="38">
                  <c:v>0.053987691570608065</c:v>
                </c:pt>
                <c:pt idx="39">
                  <c:v>0.05471250321078566</c:v>
                </c:pt>
                <c:pt idx="40">
                  <c:v>0.05118422268216348</c:v>
                </c:pt>
                <c:pt idx="41">
                  <c:v>0.048358942818840414</c:v>
                </c:pt>
                <c:pt idx="42">
                  <c:v>0.05865241708849174</c:v>
                </c:pt>
                <c:pt idx="43">
                  <c:v>0.0558834671225175</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numCache>
            </c:numRef>
          </c:xVal>
          <c:yVal>
            <c:numRef>
              <c:f>Sheet1!$B$48:$B$99</c:f>
              <c:numCache>
                <c:formatCode>General</c:formatCode>
                <c:ptCount val="52"/>
                <c:pt idx="0">
                  <c:v>0.05420836453582045</c:v>
                </c:pt>
                <c:pt idx="1">
                  <c:v>0.0632999984697695</c:v>
                </c:pt>
                <c:pt idx="2">
                  <c:v>0.05925752996827015</c:v>
                </c:pt>
                <c:pt idx="3">
                  <c:v>0.0496586438566346</c:v>
                </c:pt>
                <c:pt idx="4">
                  <c:v>0.07114840026032047</c:v>
                </c:pt>
                <c:pt idx="5">
                  <c:v>0.05272748085173168</c:v>
                </c:pt>
                <c:pt idx="6">
                  <c:v>0.058816038675082075</c:v>
                </c:pt>
                <c:pt idx="7">
                  <c:v>0.05816960342855488</c:v>
                </c:pt>
                <c:pt idx="8">
                  <c:v>0.0544335466215127</c:v>
                </c:pt>
                <c:pt idx="9">
                  <c:v>0.05418459623710726</c:v>
                </c:pt>
                <c:pt idx="10">
                  <c:v>0.054439209360895344</c:v>
                </c:pt>
                <c:pt idx="11">
                  <c:v>0.06509475315249193</c:v>
                </c:pt>
                <c:pt idx="12">
                  <c:v>0.07719145570102388</c:v>
                </c:pt>
                <c:pt idx="13">
                  <c:v>0.06118700880665636</c:v>
                </c:pt>
                <c:pt idx="14">
                  <c:v>0.04205642082635637</c:v>
                </c:pt>
                <c:pt idx="15">
                  <c:v>0.0561426982849807</c:v>
                </c:pt>
                <c:pt idx="16">
                  <c:v>0.05987578068559791</c:v>
                </c:pt>
                <c:pt idx="17">
                  <c:v>0.06697624399836156</c:v>
                </c:pt>
                <c:pt idx="18">
                  <c:v>0.06581733655274627</c:v>
                </c:pt>
                <c:pt idx="19">
                  <c:v>0.055543224555059015</c:v>
                </c:pt>
                <c:pt idx="20">
                  <c:v>0.055860924763759645</c:v>
                </c:pt>
                <c:pt idx="21">
                  <c:v>0.05317026876216504</c:v>
                </c:pt>
                <c:pt idx="22">
                  <c:v>0.08856011202956435</c:v>
                </c:pt>
                <c:pt idx="23">
                  <c:v>0.04101592826209609</c:v>
                </c:pt>
                <c:pt idx="24">
                  <c:v>0.04567560989869353</c:v>
                </c:pt>
                <c:pt idx="25">
                  <c:v>0.06548891470308821</c:v>
                </c:pt>
                <c:pt idx="26">
                  <c:v>0.04951583202553725</c:v>
                </c:pt>
                <c:pt idx="27">
                  <c:v>0.04963514375503034</c:v>
                </c:pt>
                <c:pt idx="28">
                  <c:v>0.0507703183895801</c:v>
                </c:pt>
                <c:pt idx="29">
                  <c:v>0.06191193118107066</c:v>
                </c:pt>
                <c:pt idx="30">
                  <c:v>0.05442746320687241</c:v>
                </c:pt>
                <c:pt idx="31">
                  <c:v>0.05440549943815836</c:v>
                </c:pt>
                <c:pt idx="32">
                  <c:v>0.06154387876086963</c:v>
                </c:pt>
                <c:pt idx="33">
                  <c:v>0.04988370278444516</c:v>
                </c:pt>
                <c:pt idx="34">
                  <c:v>0.057678884392206246</c:v>
                </c:pt>
                <c:pt idx="35">
                  <c:v>0.05145867400155341</c:v>
                </c:pt>
                <c:pt idx="36">
                  <c:v>0.05964466748077628</c:v>
                </c:pt>
                <c:pt idx="37">
                  <c:v>0.04659211041628804</c:v>
                </c:pt>
                <c:pt idx="38">
                  <c:v>0.061233914297261445</c:v>
                </c:pt>
                <c:pt idx="39">
                  <c:v>0.04883249285860175</c:v>
                </c:pt>
                <c:pt idx="40">
                  <c:v>0.05261612120627882</c:v>
                </c:pt>
                <c:pt idx="41">
                  <c:v>0.06462838677603779</c:v>
                </c:pt>
                <c:pt idx="42">
                  <c:v>0.06754978189956355</c:v>
                </c:pt>
                <c:pt idx="43">
                  <c:v>0.04961431193624792</c:v>
                </c:pt>
                <c:pt idx="44">
                  <c:v>0.041400819190340304</c:v>
                </c:pt>
                <c:pt idx="45">
                  <c:v>0.07141027523588214</c:v>
                </c:pt>
                <c:pt idx="46">
                  <c:v>0.06251667128668337</c:v>
                </c:pt>
                <c:pt idx="47">
                  <c:v>0.06157622892486462</c:v>
                </c:pt>
                <c:pt idx="48">
                  <c:v>0.05123888578626157</c:v>
                </c:pt>
                <c:pt idx="49">
                  <c:v>0.05393478496502304</c:v>
                </c:pt>
                <c:pt idx="50">
                  <c:v>0.05563541156633411</c:v>
                </c:pt>
                <c:pt idx="51">
                  <c:v>0.06201240979438375</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9472713043029213</c:v>
                </c:pt>
              </c:numCache>
            </c:numRef>
          </c:xVal>
          <c:yVal>
            <c:numRef>
              <c:f>Sheet1!$B$102:$B$103</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9472713043029213</c:v>
                </c:pt>
                <c:pt idx="1">
                  <c:v>2.9472713043029213</c:v>
                </c:pt>
              </c:numCache>
            </c:numRef>
          </c:xVal>
          <c:yVal>
            <c:numRef>
              <c:f>Sheet1!$B$106:$B$107</c:f>
              <c:numCache>
                <c:formatCode>General</c:formatCode>
                <c:ptCount val="2"/>
                <c:pt idx="0">
                  <c:v>0.059433047778401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9472713043029213</c:v>
                </c:pt>
              </c:numCache>
            </c:numRef>
          </c:xVal>
          <c:yVal>
            <c:numRef>
              <c:f>Sheet1!$B$110:$B$111</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9472713043029213</c:v>
                </c:pt>
                <c:pt idx="1">
                  <c:v>2.9472713043029213</c:v>
                </c:pt>
              </c:numCache>
            </c:numRef>
          </c:xVal>
          <c:yVal>
            <c:numRef>
              <c:f>Sheet1!$B$114:$B$115</c:f>
              <c:numCache>
                <c:formatCode>General</c:formatCode>
                <c:ptCount val="2"/>
                <c:pt idx="0">
                  <c:v>0.059433047778401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3.315753445196809</c:v>
                </c:pt>
              </c:numCache>
            </c:numRef>
          </c:xVal>
          <c:yVal>
            <c:numRef>
              <c:f>Sheet1!$B$118:$B$119</c:f>
              <c:numCache>
                <c:formatCode>General</c:formatCode>
                <c:ptCount val="2"/>
                <c:pt idx="0">
                  <c:v>0.05715127549434636</c:v>
                </c:pt>
                <c:pt idx="1">
                  <c:v>0.0571512754943463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3.315753445196809</c:v>
                </c:pt>
                <c:pt idx="1">
                  <c:v>3.315753445196809</c:v>
                </c:pt>
              </c:numCache>
            </c:numRef>
          </c:xVal>
          <c:yVal>
            <c:numRef>
              <c:f>Sheet1!$B$122:$B$123</c:f>
              <c:numCache>
                <c:formatCode>General</c:formatCode>
                <c:ptCount val="2"/>
                <c:pt idx="0">
                  <c:v>0.05715127549434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pt idx="52">
                  <c:v>2.9472713043029213</c:v>
                </c:pt>
                <c:pt idx="53">
                  <c:v>2.9472713043029213</c:v>
                </c:pt>
                <c:pt idx="54">
                  <c:v>3.315753445196809</c:v>
                </c:pt>
              </c:numCache>
            </c:numRef>
          </c:xVal>
          <c:yVal>
            <c:numRef>
              <c:f>Sheet1!$B$126:$B$180</c:f>
              <c:numCache>
                <c:formatCode>General</c:formatCode>
                <c:ptCount val="55"/>
                <c:pt idx="0">
                  <c:v>0.056990605212001035</c:v>
                </c:pt>
                <c:pt idx="1">
                  <c:v>0.0571485102684096</c:v>
                </c:pt>
                <c:pt idx="2">
                  <c:v>0.05714293714877165</c:v>
                </c:pt>
                <c:pt idx="3">
                  <c:v>0.05714293714877165</c:v>
                </c:pt>
                <c:pt idx="4">
                  <c:v>0.05713426785155706</c:v>
                </c:pt>
                <c:pt idx="5">
                  <c:v>0.05713674479361837</c:v>
                </c:pt>
                <c:pt idx="6">
                  <c:v>0.057189379812421226</c:v>
                </c:pt>
                <c:pt idx="7">
                  <c:v>0.05648530903149364</c:v>
                </c:pt>
                <c:pt idx="8">
                  <c:v>0.0562698150721596</c:v>
                </c:pt>
                <c:pt idx="9">
                  <c:v>0.05628839213761942</c:v>
                </c:pt>
                <c:pt idx="10">
                  <c:v>0.05633235785920769</c:v>
                </c:pt>
                <c:pt idx="11">
                  <c:v>0.05844023555338317</c:v>
                </c:pt>
                <c:pt idx="12">
                  <c:v>0.06028865356663635</c:v>
                </c:pt>
                <c:pt idx="13">
                  <c:v>0.060285557389059705</c:v>
                </c:pt>
                <c:pt idx="14">
                  <c:v>0.05849658598527799</c:v>
                </c:pt>
                <c:pt idx="15">
                  <c:v>0.05636208116394342</c:v>
                </c:pt>
                <c:pt idx="16">
                  <c:v>0.05630696920307926</c:v>
                </c:pt>
                <c:pt idx="17">
                  <c:v>0.057134887087072386</c:v>
                </c:pt>
                <c:pt idx="18">
                  <c:v>0.058565940362994694</c:v>
                </c:pt>
                <c:pt idx="19">
                  <c:v>0.058575848131239935</c:v>
                </c:pt>
                <c:pt idx="20">
                  <c:v>0.057440170196128945</c:v>
                </c:pt>
                <c:pt idx="21">
                  <c:v>0.05628653443107344</c:v>
                </c:pt>
                <c:pt idx="22">
                  <c:v>0.05631192308720188</c:v>
                </c:pt>
                <c:pt idx="23">
                  <c:v>0.05628219978246615</c:v>
                </c:pt>
                <c:pt idx="24">
                  <c:v>0.05634288486296826</c:v>
                </c:pt>
                <c:pt idx="25">
                  <c:v>0.05628591519555812</c:v>
                </c:pt>
                <c:pt idx="26">
                  <c:v>0.056783161314366254</c:v>
                </c:pt>
                <c:pt idx="27">
                  <c:v>0.05684570410141435</c:v>
                </c:pt>
                <c:pt idx="28">
                  <c:v>0.05678687672745822</c:v>
                </c:pt>
                <c:pt idx="29">
                  <c:v>0.056832080920077147</c:v>
                </c:pt>
                <c:pt idx="30">
                  <c:v>0.056802357615341414</c:v>
                </c:pt>
                <c:pt idx="31">
                  <c:v>0.05681412309013264</c:v>
                </c:pt>
                <c:pt idx="32">
                  <c:v>0.0567707766040597</c:v>
                </c:pt>
                <c:pt idx="33">
                  <c:v>0.05686180422481288</c:v>
                </c:pt>
                <c:pt idx="34">
                  <c:v>0.05804640176563476</c:v>
                </c:pt>
                <c:pt idx="35">
                  <c:v>0.059061328775256855</c:v>
                </c:pt>
                <c:pt idx="36">
                  <c:v>0.05906442495283349</c:v>
                </c:pt>
                <c:pt idx="37">
                  <c:v>0.05909229055102323</c:v>
                </c:pt>
                <c:pt idx="38">
                  <c:v>0.057796849852957695</c:v>
                </c:pt>
                <c:pt idx="39">
                  <c:v>0.056836415568684434</c:v>
                </c:pt>
                <c:pt idx="40">
                  <c:v>0.056810407677040674</c:v>
                </c:pt>
                <c:pt idx="41">
                  <c:v>0.05805569029836467</c:v>
                </c:pt>
                <c:pt idx="42">
                  <c:v>0.05904770559391964</c:v>
                </c:pt>
                <c:pt idx="43">
                  <c:v>0.058946150969405905</c:v>
                </c:pt>
                <c:pt idx="44">
                  <c:v>0.05798200127204067</c:v>
                </c:pt>
                <c:pt idx="45">
                  <c:v>0.05683270015559247</c:v>
                </c:pt>
                <c:pt idx="46">
                  <c:v>0.05685499263414427</c:v>
                </c:pt>
                <c:pt idx="47">
                  <c:v>0.05687914281924204</c:v>
                </c:pt>
                <c:pt idx="48">
                  <c:v>0.05674353024138528</c:v>
                </c:pt>
                <c:pt idx="49">
                  <c:v>0.05678254207885093</c:v>
                </c:pt>
                <c:pt idx="50">
                  <c:v>0.056838892510745746</c:v>
                </c:pt>
                <c:pt idx="51">
                  <c:v>0.05683270015559247</c:v>
                </c:pt>
                <c:pt idx="52">
                  <c:v>0.05943304777840115</c:v>
                </c:pt>
                <c:pt idx="53">
                  <c:v>0.05943304777840115</c:v>
                </c:pt>
                <c:pt idx="54">
                  <c:v>0.05715127549434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627213443547721"/>
          <c:min val="0.032812742609676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6403136674968868</c:v>
                </c:pt>
                <c:pt idx="1">
                  <c:v>0.6390364446519953</c:v>
                </c:pt>
                <c:pt idx="2">
                  <c:v>0.6417132071065792</c:v>
                </c:pt>
                <c:pt idx="3">
                  <c:v>0.6401914620383702</c:v>
                </c:pt>
                <c:pt idx="4">
                  <c:v>0.6404592779994162</c:v>
                </c:pt>
                <c:pt idx="5">
                  <c:v>0.6396661088843055</c:v>
                </c:pt>
                <c:pt idx="6">
                  <c:v>0.6412432127357297</c:v>
                </c:pt>
                <c:pt idx="7">
                  <c:v>0.6403580463125121</c:v>
                </c:pt>
                <c:pt idx="8">
                  <c:v>0.6402382064455862</c:v>
                </c:pt>
                <c:pt idx="9">
                  <c:v>0.6400412515566625</c:v>
                </c:pt>
                <c:pt idx="10">
                  <c:v>0.640435882467406</c:v>
                </c:pt>
                <c:pt idx="11">
                  <c:v>0.6399066057009437</c:v>
                </c:pt>
                <c:pt idx="12">
                  <c:v>0.6401704578622716</c:v>
                </c:pt>
                <c:pt idx="13">
                  <c:v>0.6406982854251406</c:v>
                </c:pt>
                <c:pt idx="14">
                  <c:v>0.6405113039417876</c:v>
                </c:pt>
                <c:pt idx="15">
                  <c:v>0.6403565104014634</c:v>
                </c:pt>
                <c:pt idx="16">
                  <c:v>0.6398684415382221</c:v>
                </c:pt>
                <c:pt idx="17">
                  <c:v>0.6399618595419253</c:v>
                </c:pt>
                <c:pt idx="18">
                  <c:v>0.6408944070369361</c:v>
                </c:pt>
                <c:pt idx="19">
                  <c:v>0.6360983013250832</c:v>
                </c:pt>
                <c:pt idx="20">
                  <c:v>0.6390651150118709</c:v>
                </c:pt>
                <c:pt idx="21">
                  <c:v>0.6401930073739712</c:v>
                </c:pt>
                <c:pt idx="22">
                  <c:v>0.6400521522534444</c:v>
                </c:pt>
                <c:pt idx="23">
                  <c:v>0.6398202019808916</c:v>
                </c:pt>
                <c:pt idx="24">
                  <c:v>0.641325498132005</c:v>
                </c:pt>
                <c:pt idx="25">
                  <c:v>0.6394980056425723</c:v>
                </c:pt>
                <c:pt idx="26">
                  <c:v>0.6397602553125243</c:v>
                </c:pt>
                <c:pt idx="27">
                  <c:v>0.6410585717065577</c:v>
                </c:pt>
                <c:pt idx="28">
                  <c:v>0.639583536051377</c:v>
                </c:pt>
                <c:pt idx="29">
                  <c:v>0.6403090516318626</c:v>
                </c:pt>
                <c:pt idx="30">
                  <c:v>0.6402926696374711</c:v>
                </c:pt>
                <c:pt idx="31">
                  <c:v>0.6162930967390459</c:v>
                </c:pt>
                <c:pt idx="32">
                  <c:v>0.5196551589927217</c:v>
                </c:pt>
                <c:pt idx="33">
                  <c:v>0.5185271679900358</c:v>
                </c:pt>
                <c:pt idx="34">
                  <c:v>0.5529803257633253</c:v>
                </c:pt>
                <c:pt idx="35">
                  <c:v>0.6396683921690732</c:v>
                </c:pt>
                <c:pt idx="36">
                  <c:v>0.6397516736727387</c:v>
                </c:pt>
                <c:pt idx="37">
                  <c:v>0.640834517252788</c:v>
                </c:pt>
                <c:pt idx="38">
                  <c:v>0.6397003016444488</c:v>
                </c:pt>
                <c:pt idx="39">
                  <c:v>0.6397244814569794</c:v>
                </c:pt>
                <c:pt idx="40">
                  <c:v>0.6407262537217584</c:v>
                </c:pt>
                <c:pt idx="41">
                  <c:v>0.6408420561111328</c:v>
                </c:pt>
                <c:pt idx="42">
                  <c:v>0.63982564362023</c:v>
                </c:pt>
                <c:pt idx="43">
                  <c:v>0.6400622628660376</c:v>
                </c:pt>
              </c:numCache>
            </c:numRef>
          </c:xVal>
          <c:yVal>
            <c:numRef>
              <c:f>Sheet1!$B$2:$B$45</c:f>
              <c:numCache>
                <c:formatCode>General</c:formatCode>
                <c:ptCount val="4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pt idx="14">
                  <c:v>0.05538392984813065</c:v>
                </c:pt>
                <c:pt idx="15">
                  <c:v>0.05828294415929802</c:v>
                </c:pt>
                <c:pt idx="16">
                  <c:v>0.053174899085142</c:v>
                </c:pt>
                <c:pt idx="17">
                  <c:v>0.04913188061551172</c:v>
                </c:pt>
                <c:pt idx="18">
                  <c:v>0.055863721403485736</c:v>
                </c:pt>
                <c:pt idx="19">
                  <c:v>0.050590954235394545</c:v>
                </c:pt>
                <c:pt idx="20">
                  <c:v>0.06798389001580384</c:v>
                </c:pt>
                <c:pt idx="21">
                  <c:v>0.04307188634985129</c:v>
                </c:pt>
                <c:pt idx="22">
                  <c:v>0.04777148485594681</c:v>
                </c:pt>
                <c:pt idx="23">
                  <c:v>0.0517479723520716</c:v>
                </c:pt>
                <c:pt idx="24">
                  <c:v>0.04176463143559459</c:v>
                </c:pt>
                <c:pt idx="25">
                  <c:v>0.05384797906582677</c:v>
                </c:pt>
                <c:pt idx="26">
                  <c:v>0.046092501321208644</c:v>
                </c:pt>
                <c:pt idx="27">
                  <c:v>0.048080242903784674</c:v>
                </c:pt>
                <c:pt idx="28">
                  <c:v>0.042785042757448405</c:v>
                </c:pt>
                <c:pt idx="29">
                  <c:v>0.048140329292901046</c:v>
                </c:pt>
                <c:pt idx="30">
                  <c:v>0.051908776584849804</c:v>
                </c:pt>
                <c:pt idx="31">
                  <c:v>0.06537925618067249</c:v>
                </c:pt>
                <c:pt idx="32">
                  <c:v>0.06278425626568616</c:v>
                </c:pt>
                <c:pt idx="33">
                  <c:v>0.06544052671578585</c:v>
                </c:pt>
                <c:pt idx="34">
                  <c:v>0.0640710484445045</c:v>
                </c:pt>
                <c:pt idx="35">
                  <c:v>0.048884002347338674</c:v>
                </c:pt>
                <c:pt idx="36">
                  <c:v>0.06080029369950869</c:v>
                </c:pt>
                <c:pt idx="37">
                  <c:v>0.047626836781985225</c:v>
                </c:pt>
                <c:pt idx="38">
                  <c:v>0.053987691570608065</c:v>
                </c:pt>
                <c:pt idx="39">
                  <c:v>0.05471250321078566</c:v>
                </c:pt>
                <c:pt idx="40">
                  <c:v>0.05118422268216348</c:v>
                </c:pt>
                <c:pt idx="41">
                  <c:v>0.048358942818840414</c:v>
                </c:pt>
                <c:pt idx="42">
                  <c:v>0.05865241708849174</c:v>
                </c:pt>
                <c:pt idx="43">
                  <c:v>0.0558834671225175</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6502500437819851</c:v>
                </c:pt>
                <c:pt idx="1">
                  <c:v>0.6453257569860668</c:v>
                </c:pt>
                <c:pt idx="2">
                  <c:v>0.6454883340792777</c:v>
                </c:pt>
                <c:pt idx="3">
                  <c:v>0.6455134567108413</c:v>
                </c:pt>
                <c:pt idx="4">
                  <c:v>0.6458236026778763</c:v>
                </c:pt>
                <c:pt idx="5">
                  <c:v>0.645607549372507</c:v>
                </c:pt>
                <c:pt idx="6">
                  <c:v>0.6440288777753995</c:v>
                </c:pt>
                <c:pt idx="7">
                  <c:v>0.6662968585776012</c:v>
                </c:pt>
                <c:pt idx="8">
                  <c:v>0.6728606452115032</c:v>
                </c:pt>
                <c:pt idx="9">
                  <c:v>0.6724731894353724</c:v>
                </c:pt>
                <c:pt idx="10">
                  <c:v>0.6709084894830034</c:v>
                </c:pt>
                <c:pt idx="11">
                  <c:v>0.6046032023969339</c:v>
                </c:pt>
                <c:pt idx="12">
                  <c:v>0.5465919483198101</c:v>
                </c:pt>
                <c:pt idx="13">
                  <c:v>0.5468169167591134</c:v>
                </c:pt>
                <c:pt idx="14">
                  <c:v>0.6029031191018231</c:v>
                </c:pt>
                <c:pt idx="15">
                  <c:v>0.6699875466998755</c:v>
                </c:pt>
                <c:pt idx="16">
                  <c:v>0.6717846926265398</c:v>
                </c:pt>
                <c:pt idx="17">
                  <c:v>0.6457413065052833</c:v>
                </c:pt>
                <c:pt idx="18">
                  <c:v>0.6006770823199797</c:v>
                </c:pt>
                <c:pt idx="19">
                  <c:v>0.6004709270646844</c:v>
                </c:pt>
                <c:pt idx="20">
                  <c:v>0.6361478137344568</c:v>
                </c:pt>
                <c:pt idx="21">
                  <c:v>0.6724792246462837</c:v>
                </c:pt>
                <c:pt idx="22">
                  <c:v>0.6714722076304986</c:v>
                </c:pt>
                <c:pt idx="23">
                  <c:v>0.67241916027861</c:v>
                </c:pt>
                <c:pt idx="24">
                  <c:v>0.6704994260588727</c:v>
                </c:pt>
                <c:pt idx="25">
                  <c:v>0.6724201677401779</c:v>
                </c:pt>
                <c:pt idx="26">
                  <c:v>0.6567559153175592</c:v>
                </c:pt>
                <c:pt idx="27">
                  <c:v>0.6548033702399253</c:v>
                </c:pt>
                <c:pt idx="28">
                  <c:v>0.6566136124839476</c:v>
                </c:pt>
                <c:pt idx="29">
                  <c:v>0.6552824644365307</c:v>
                </c:pt>
                <c:pt idx="30">
                  <c:v>0.656114408016344</c:v>
                </c:pt>
                <c:pt idx="31">
                  <c:v>0.6559106301817756</c:v>
                </c:pt>
                <c:pt idx="32">
                  <c:v>0.6570555847390027</c:v>
                </c:pt>
                <c:pt idx="33">
                  <c:v>0.6543101770772524</c:v>
                </c:pt>
                <c:pt idx="34">
                  <c:v>0.6171090526971277</c:v>
                </c:pt>
                <c:pt idx="35">
                  <c:v>0.5851916715314263</c:v>
                </c:pt>
                <c:pt idx="36">
                  <c:v>0.5851057619334877</c:v>
                </c:pt>
                <c:pt idx="37">
                  <c:v>0.584321052529145</c:v>
                </c:pt>
                <c:pt idx="38">
                  <c:v>0.6249513505098467</c:v>
                </c:pt>
                <c:pt idx="39">
                  <c:v>0.6551589927217529</c:v>
                </c:pt>
                <c:pt idx="40">
                  <c:v>0.6559635705528636</c:v>
                </c:pt>
                <c:pt idx="41">
                  <c:v>0.6166731517509728</c:v>
                </c:pt>
                <c:pt idx="42">
                  <c:v>0.5856311662028839</c:v>
                </c:pt>
                <c:pt idx="43">
                  <c:v>0.5888110527339949</c:v>
                </c:pt>
                <c:pt idx="44">
                  <c:v>0.6191569688241934</c:v>
                </c:pt>
                <c:pt idx="45">
                  <c:v>0.6553012610929473</c:v>
                </c:pt>
                <c:pt idx="46">
                  <c:v>0.6545624379706929</c:v>
                </c:pt>
                <c:pt idx="47">
                  <c:v>0.6537017219573888</c:v>
                </c:pt>
                <c:pt idx="48">
                  <c:v>0.658347123527694</c:v>
                </c:pt>
                <c:pt idx="49">
                  <c:v>0.6566859277417849</c:v>
                </c:pt>
                <c:pt idx="50">
                  <c:v>0.6549919249703267</c:v>
                </c:pt>
                <c:pt idx="51">
                  <c:v>0.655186503998599</c:v>
                </c:pt>
              </c:numCache>
            </c:numRef>
          </c:xVal>
          <c:yVal>
            <c:numRef>
              <c:f>Sheet1!$B$48:$B$99</c:f>
              <c:numCache>
                <c:formatCode>General</c:formatCode>
                <c:ptCount val="52"/>
                <c:pt idx="0">
                  <c:v>0.05420836453582045</c:v>
                </c:pt>
                <c:pt idx="1">
                  <c:v>0.0632999984697695</c:v>
                </c:pt>
                <c:pt idx="2">
                  <c:v>0.05925752996827015</c:v>
                </c:pt>
                <c:pt idx="3">
                  <c:v>0.0496586438566346</c:v>
                </c:pt>
                <c:pt idx="4">
                  <c:v>0.07114840026032047</c:v>
                </c:pt>
                <c:pt idx="5">
                  <c:v>0.05272748085173168</c:v>
                </c:pt>
                <c:pt idx="6">
                  <c:v>0.058816038675082075</c:v>
                </c:pt>
                <c:pt idx="7">
                  <c:v>0.05816960342855488</c:v>
                </c:pt>
                <c:pt idx="8">
                  <c:v>0.0544335466215127</c:v>
                </c:pt>
                <c:pt idx="9">
                  <c:v>0.05418459623710726</c:v>
                </c:pt>
                <c:pt idx="10">
                  <c:v>0.054439209360895344</c:v>
                </c:pt>
                <c:pt idx="11">
                  <c:v>0.06509475315249193</c:v>
                </c:pt>
                <c:pt idx="12">
                  <c:v>0.07719145570102388</c:v>
                </c:pt>
                <c:pt idx="13">
                  <c:v>0.06118700880665636</c:v>
                </c:pt>
                <c:pt idx="14">
                  <c:v>0.04205642082635637</c:v>
                </c:pt>
                <c:pt idx="15">
                  <c:v>0.0561426982849807</c:v>
                </c:pt>
                <c:pt idx="16">
                  <c:v>0.05987578068559791</c:v>
                </c:pt>
                <c:pt idx="17">
                  <c:v>0.06697624399836156</c:v>
                </c:pt>
                <c:pt idx="18">
                  <c:v>0.06581733655274627</c:v>
                </c:pt>
                <c:pt idx="19">
                  <c:v>0.055543224555059015</c:v>
                </c:pt>
                <c:pt idx="20">
                  <c:v>0.055860924763759645</c:v>
                </c:pt>
                <c:pt idx="21">
                  <c:v>0.05317026876216504</c:v>
                </c:pt>
                <c:pt idx="22">
                  <c:v>0.08856011202956435</c:v>
                </c:pt>
                <c:pt idx="23">
                  <c:v>0.04101592826209609</c:v>
                </c:pt>
                <c:pt idx="24">
                  <c:v>0.04567560989869353</c:v>
                </c:pt>
                <c:pt idx="25">
                  <c:v>0.06548891470308821</c:v>
                </c:pt>
                <c:pt idx="26">
                  <c:v>0.04951583202553725</c:v>
                </c:pt>
                <c:pt idx="27">
                  <c:v>0.04963514375503034</c:v>
                </c:pt>
                <c:pt idx="28">
                  <c:v>0.0507703183895801</c:v>
                </c:pt>
                <c:pt idx="29">
                  <c:v>0.06191193118107066</c:v>
                </c:pt>
                <c:pt idx="30">
                  <c:v>0.05442746320687241</c:v>
                </c:pt>
                <c:pt idx="31">
                  <c:v>0.05440549943815836</c:v>
                </c:pt>
                <c:pt idx="32">
                  <c:v>0.06154387876086963</c:v>
                </c:pt>
                <c:pt idx="33">
                  <c:v>0.04988370278444516</c:v>
                </c:pt>
                <c:pt idx="34">
                  <c:v>0.057678884392206246</c:v>
                </c:pt>
                <c:pt idx="35">
                  <c:v>0.05145867400155341</c:v>
                </c:pt>
                <c:pt idx="36">
                  <c:v>0.05964466748077628</c:v>
                </c:pt>
                <c:pt idx="37">
                  <c:v>0.04659211041628804</c:v>
                </c:pt>
                <c:pt idx="38">
                  <c:v>0.061233914297261445</c:v>
                </c:pt>
                <c:pt idx="39">
                  <c:v>0.04883249285860175</c:v>
                </c:pt>
                <c:pt idx="40">
                  <c:v>0.05261612120627882</c:v>
                </c:pt>
                <c:pt idx="41">
                  <c:v>0.06462838677603779</c:v>
                </c:pt>
                <c:pt idx="42">
                  <c:v>0.06754978189956355</c:v>
                </c:pt>
                <c:pt idx="43">
                  <c:v>0.04961431193624792</c:v>
                </c:pt>
                <c:pt idx="44">
                  <c:v>0.041400819190340304</c:v>
                </c:pt>
                <c:pt idx="45">
                  <c:v>0.07141027523588214</c:v>
                </c:pt>
                <c:pt idx="46">
                  <c:v>0.06251667128668337</c:v>
                </c:pt>
                <c:pt idx="47">
                  <c:v>0.06157622892486462</c:v>
                </c:pt>
                <c:pt idx="48">
                  <c:v>0.05123888578626157</c:v>
                </c:pt>
                <c:pt idx="49">
                  <c:v>0.05393478496502304</c:v>
                </c:pt>
                <c:pt idx="50">
                  <c:v>0.05563541156633411</c:v>
                </c:pt>
                <c:pt idx="51">
                  <c:v>0.06201240979438375</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5736811873758931</c:v>
                </c:pt>
              </c:numCache>
            </c:numRef>
          </c:xVal>
          <c:yVal>
            <c:numRef>
              <c:f>Sheet1!$B$102:$B$103</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5736811873758931</c:v>
                </c:pt>
                <c:pt idx="1">
                  <c:v>0.5736811873758931</c:v>
                </c:pt>
              </c:numCache>
            </c:numRef>
          </c:xVal>
          <c:yVal>
            <c:numRef>
              <c:f>Sheet1!$B$106:$B$107</c:f>
              <c:numCache>
                <c:formatCode>General</c:formatCode>
                <c:ptCount val="2"/>
                <c:pt idx="0">
                  <c:v>0.059433047778401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5736811873758931</c:v>
                </c:pt>
              </c:numCache>
            </c:numRef>
          </c:xVal>
          <c:yVal>
            <c:numRef>
              <c:f>Sheet1!$B$110:$B$111</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5736811873758931</c:v>
                </c:pt>
                <c:pt idx="1">
                  <c:v>0.5736811873758931</c:v>
                </c:pt>
              </c:numCache>
            </c:numRef>
          </c:xVal>
          <c:yVal>
            <c:numRef>
              <c:f>Sheet1!$B$114:$B$115</c:f>
              <c:numCache>
                <c:formatCode>General</c:formatCode>
                <c:ptCount val="2"/>
                <c:pt idx="0">
                  <c:v>0.0594330477784011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6452027107608231</c:v>
                </c:pt>
              </c:numCache>
            </c:numRef>
          </c:xVal>
          <c:yVal>
            <c:numRef>
              <c:f>Sheet1!$B$118:$B$119</c:f>
              <c:numCache>
                <c:formatCode>General</c:formatCode>
                <c:ptCount val="2"/>
                <c:pt idx="0">
                  <c:v>0.05715127549434636</c:v>
                </c:pt>
                <c:pt idx="1">
                  <c:v>0.0571512754943463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6452027107608231</c:v>
                </c:pt>
                <c:pt idx="1">
                  <c:v>0.6452027107608231</c:v>
                </c:pt>
              </c:numCache>
            </c:numRef>
          </c:xVal>
          <c:yVal>
            <c:numRef>
              <c:f>Sheet1!$B$122:$B$123</c:f>
              <c:numCache>
                <c:formatCode>General</c:formatCode>
                <c:ptCount val="2"/>
                <c:pt idx="0">
                  <c:v>0.057151275494346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6502500437819851</c:v>
                </c:pt>
                <c:pt idx="1">
                  <c:v>0.6453257569860668</c:v>
                </c:pt>
                <c:pt idx="2">
                  <c:v>0.6454883340792777</c:v>
                </c:pt>
                <c:pt idx="3">
                  <c:v>0.6455134567108413</c:v>
                </c:pt>
                <c:pt idx="4">
                  <c:v>0.6458236026778763</c:v>
                </c:pt>
                <c:pt idx="5">
                  <c:v>0.645607549372507</c:v>
                </c:pt>
                <c:pt idx="6">
                  <c:v>0.6440288777753995</c:v>
                </c:pt>
                <c:pt idx="7">
                  <c:v>0.6662968585776012</c:v>
                </c:pt>
                <c:pt idx="8">
                  <c:v>0.6728606452115032</c:v>
                </c:pt>
                <c:pt idx="9">
                  <c:v>0.6724731894353724</c:v>
                </c:pt>
                <c:pt idx="10">
                  <c:v>0.6709084894830034</c:v>
                </c:pt>
                <c:pt idx="11">
                  <c:v>0.6046032023969339</c:v>
                </c:pt>
                <c:pt idx="12">
                  <c:v>0.5465919483198101</c:v>
                </c:pt>
                <c:pt idx="13">
                  <c:v>0.5468169167591134</c:v>
                </c:pt>
                <c:pt idx="14">
                  <c:v>0.6029031191018231</c:v>
                </c:pt>
                <c:pt idx="15">
                  <c:v>0.6699875466998755</c:v>
                </c:pt>
                <c:pt idx="16">
                  <c:v>0.6717846926265398</c:v>
                </c:pt>
                <c:pt idx="17">
                  <c:v>0.6457413065052833</c:v>
                </c:pt>
                <c:pt idx="18">
                  <c:v>0.6006770823199797</c:v>
                </c:pt>
                <c:pt idx="19">
                  <c:v>0.6004709270646844</c:v>
                </c:pt>
                <c:pt idx="20">
                  <c:v>0.6361478137344568</c:v>
                </c:pt>
                <c:pt idx="21">
                  <c:v>0.6724792246462837</c:v>
                </c:pt>
                <c:pt idx="22">
                  <c:v>0.6714722076304986</c:v>
                </c:pt>
                <c:pt idx="23">
                  <c:v>0.67241916027861</c:v>
                </c:pt>
                <c:pt idx="24">
                  <c:v>0.6704994260588727</c:v>
                </c:pt>
                <c:pt idx="25">
                  <c:v>0.6724201677401779</c:v>
                </c:pt>
                <c:pt idx="26">
                  <c:v>0.6567559153175592</c:v>
                </c:pt>
                <c:pt idx="27">
                  <c:v>0.6548033702399253</c:v>
                </c:pt>
                <c:pt idx="28">
                  <c:v>0.6566136124839476</c:v>
                </c:pt>
                <c:pt idx="29">
                  <c:v>0.6552824644365307</c:v>
                </c:pt>
                <c:pt idx="30">
                  <c:v>0.656114408016344</c:v>
                </c:pt>
                <c:pt idx="31">
                  <c:v>0.6559106301817756</c:v>
                </c:pt>
                <c:pt idx="32">
                  <c:v>0.6570555847390027</c:v>
                </c:pt>
                <c:pt idx="33">
                  <c:v>0.6543101770772524</c:v>
                </c:pt>
                <c:pt idx="34">
                  <c:v>0.6171090526971277</c:v>
                </c:pt>
                <c:pt idx="35">
                  <c:v>0.5851916715314263</c:v>
                </c:pt>
                <c:pt idx="36">
                  <c:v>0.5851057619334877</c:v>
                </c:pt>
                <c:pt idx="37">
                  <c:v>0.584321052529145</c:v>
                </c:pt>
                <c:pt idx="38">
                  <c:v>0.6249513505098467</c:v>
                </c:pt>
                <c:pt idx="39">
                  <c:v>0.6551589927217529</c:v>
                </c:pt>
                <c:pt idx="40">
                  <c:v>0.6559635705528636</c:v>
                </c:pt>
                <c:pt idx="41">
                  <c:v>0.6166731517509728</c:v>
                </c:pt>
                <c:pt idx="42">
                  <c:v>0.5856311662028839</c:v>
                </c:pt>
                <c:pt idx="43">
                  <c:v>0.5888110527339949</c:v>
                </c:pt>
                <c:pt idx="44">
                  <c:v>0.6191569688241934</c:v>
                </c:pt>
                <c:pt idx="45">
                  <c:v>0.6553012610929473</c:v>
                </c:pt>
                <c:pt idx="46">
                  <c:v>0.6545624379706929</c:v>
                </c:pt>
                <c:pt idx="47">
                  <c:v>0.6537017219573888</c:v>
                </c:pt>
                <c:pt idx="48">
                  <c:v>0.658347123527694</c:v>
                </c:pt>
                <c:pt idx="49">
                  <c:v>0.6566859277417849</c:v>
                </c:pt>
                <c:pt idx="50">
                  <c:v>0.6549919249703267</c:v>
                </c:pt>
                <c:pt idx="51">
                  <c:v>0.655186503998599</c:v>
                </c:pt>
                <c:pt idx="52">
                  <c:v>0.5736811873758931</c:v>
                </c:pt>
                <c:pt idx="53">
                  <c:v>0.5736811873758931</c:v>
                </c:pt>
                <c:pt idx="54">
                  <c:v>0.6452027107608231</c:v>
                </c:pt>
              </c:numCache>
            </c:numRef>
          </c:xVal>
          <c:yVal>
            <c:numRef>
              <c:f>Sheet1!$B$126:$B$180</c:f>
              <c:numCache>
                <c:formatCode>General</c:formatCode>
                <c:ptCount val="55"/>
                <c:pt idx="0">
                  <c:v>0.056990248938269</c:v>
                </c:pt>
                <c:pt idx="1">
                  <c:v>0.05714734991428136</c:v>
                </c:pt>
                <c:pt idx="2">
                  <c:v>0.05714216316926036</c:v>
                </c:pt>
                <c:pt idx="3">
                  <c:v>0.05714136167452575</c:v>
                </c:pt>
                <c:pt idx="4">
                  <c:v>0.057131466996139454</c:v>
                </c:pt>
                <c:pt idx="5">
                  <c:v>0.05713835980855085</c:v>
                </c:pt>
                <c:pt idx="6">
                  <c:v>0.05718872463476572</c:v>
                </c:pt>
                <c:pt idx="7">
                  <c:v>0.05647830266650219</c:v>
                </c:pt>
                <c:pt idx="8">
                  <c:v>0.056268896242940986</c:v>
                </c:pt>
                <c:pt idx="9">
                  <c:v>0.056281257358999914</c:v>
                </c:pt>
                <c:pt idx="10">
                  <c:v>0.056331176443706235</c:v>
                </c:pt>
                <c:pt idx="11">
                  <c:v>0.05844653360053056</c:v>
                </c:pt>
                <c:pt idx="12">
                  <c:v>0.0602972837726715</c:v>
                </c:pt>
                <c:pt idx="13">
                  <c:v>0.060290106538109164</c:v>
                </c:pt>
                <c:pt idx="14">
                  <c:v>0.05850077186000513</c:v>
                </c:pt>
                <c:pt idx="15">
                  <c:v>0.05636055755331197</c:v>
                </c:pt>
                <c:pt idx="16">
                  <c:v>0.056303222676036005</c:v>
                </c:pt>
                <c:pt idx="17">
                  <c:v>0.05713409251523943</c:v>
                </c:pt>
                <c:pt idx="18">
                  <c:v>0.05857178976890452</c:v>
                </c:pt>
                <c:pt idx="19">
                  <c:v>0.058578366800901074</c:v>
                </c:pt>
                <c:pt idx="20">
                  <c:v>0.057440156548494686</c:v>
                </c:pt>
                <c:pt idx="21">
                  <c:v>0.05628106481588374</c:v>
                </c:pt>
                <c:pt idx="22">
                  <c:v>0.05631319197715551</c:v>
                </c:pt>
                <c:pt idx="23">
                  <c:v>0.05628298106714533</c:v>
                </c:pt>
                <c:pt idx="24">
                  <c:v>0.05634422691494101</c:v>
                </c:pt>
                <c:pt idx="25">
                  <c:v>0.05628294892580138</c:v>
                </c:pt>
                <c:pt idx="26">
                  <c:v>0.056782690197194674</c:v>
                </c:pt>
                <c:pt idx="27">
                  <c:v>0.05684498281948033</c:v>
                </c:pt>
                <c:pt idx="28">
                  <c:v>0.05678723012652377</c:v>
                </c:pt>
                <c:pt idx="29">
                  <c:v>0.05682969813582808</c:v>
                </c:pt>
                <c:pt idx="30">
                  <c:v>0.05680315639409114</c:v>
                </c:pt>
                <c:pt idx="31">
                  <c:v>0.05680965757853208</c:v>
                </c:pt>
                <c:pt idx="32">
                  <c:v>0.05677312975513657</c:v>
                </c:pt>
                <c:pt idx="33">
                  <c:v>0.05686071730661109</c:v>
                </c:pt>
                <c:pt idx="34">
                  <c:v>0.058047555764866435</c:v>
                </c:pt>
                <c:pt idx="35">
                  <c:v>0.05906582540282629</c:v>
                </c:pt>
                <c:pt idx="36">
                  <c:v>0.05906856620210227</c:v>
                </c:pt>
                <c:pt idx="37">
                  <c:v>0.0590936010179888</c:v>
                </c:pt>
                <c:pt idx="38">
                  <c:v>0.05779736062156589</c:v>
                </c:pt>
                <c:pt idx="39">
                  <c:v>0.056833637290411354</c:v>
                </c:pt>
                <c:pt idx="40">
                  <c:v>0.0568079686062376</c:v>
                </c:pt>
                <c:pt idx="41">
                  <c:v>0.058061462441492656</c:v>
                </c:pt>
                <c:pt idx="42">
                  <c:v>0.059051804074520334</c:v>
                </c:pt>
                <c:pt idx="43">
                  <c:v>0.058950355215355556</c:v>
                </c:pt>
                <c:pt idx="44">
                  <c:v>0.05798222049182341</c:v>
                </c:pt>
                <c:pt idx="45">
                  <c:v>0.05682909846054693</c:v>
                </c:pt>
                <c:pt idx="46">
                  <c:v>0.05685266935282373</c:v>
                </c:pt>
                <c:pt idx="47">
                  <c:v>0.05688012903000411</c:v>
                </c:pt>
                <c:pt idx="48">
                  <c:v>0.05673192541171177</c:v>
                </c:pt>
                <c:pt idx="49">
                  <c:v>0.05678492303149506</c:v>
                </c:pt>
                <c:pt idx="50">
                  <c:v>0.05683896730222769</c:v>
                </c:pt>
                <c:pt idx="51">
                  <c:v>0.05683275959002082</c:v>
                </c:pt>
                <c:pt idx="52">
                  <c:v>0.05943304777840115</c:v>
                </c:pt>
                <c:pt idx="53">
                  <c:v>0.05943304777840115</c:v>
                </c:pt>
                <c:pt idx="54">
                  <c:v>0.057151275494346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627213443547721"/>
          <c:min val="0.032812742609676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3.2907</c:v>
                </c:pt>
                <c:pt idx="1">
                  <c:v>3.2842</c:v>
                </c:pt>
                <c:pt idx="2">
                  <c:v>3.2977</c:v>
                </c:pt>
                <c:pt idx="3">
                  <c:v>3.2902</c:v>
                </c:pt>
                <c:pt idx="4">
                  <c:v>3.291</c:v>
                </c:pt>
                <c:pt idx="5">
                  <c:v>3.2875</c:v>
                </c:pt>
                <c:pt idx="6">
                  <c:v>3.2949</c:v>
                </c:pt>
                <c:pt idx="7">
                  <c:v>3.2908</c:v>
                </c:pt>
                <c:pt idx="8">
                  <c:v>3.2898</c:v>
                </c:pt>
                <c:pt idx="9">
                  <c:v>3.2893</c:v>
                </c:pt>
                <c:pt idx="10">
                  <c:v>3.2912</c:v>
                </c:pt>
                <c:pt idx="11">
                  <c:v>3.2888</c:v>
                </c:pt>
                <c:pt idx="12">
                  <c:v>3.2899</c:v>
                </c:pt>
                <c:pt idx="13">
                  <c:v>3.2921</c:v>
                </c:pt>
                <c:pt idx="14">
                  <c:v>3.2921</c:v>
                </c:pt>
                <c:pt idx="15">
                  <c:v>3.2906</c:v>
                </c:pt>
                <c:pt idx="16">
                  <c:v>3.2879</c:v>
                </c:pt>
                <c:pt idx="17">
                  <c:v>3.2887</c:v>
                </c:pt>
                <c:pt idx="18">
                  <c:v>3.2933</c:v>
                </c:pt>
                <c:pt idx="19">
                  <c:v>3.2691</c:v>
                </c:pt>
                <c:pt idx="20">
                  <c:v>3.2839</c:v>
                </c:pt>
                <c:pt idx="21">
                  <c:v>3.2904</c:v>
                </c:pt>
                <c:pt idx="22">
                  <c:v>3.2891</c:v>
                </c:pt>
                <c:pt idx="23">
                  <c:v>3.2881</c:v>
                </c:pt>
                <c:pt idx="24">
                  <c:v>3.2959</c:v>
                </c:pt>
                <c:pt idx="25">
                  <c:v>3.2867</c:v>
                </c:pt>
                <c:pt idx="26">
                  <c:v>3.2876</c:v>
                </c:pt>
                <c:pt idx="27">
                  <c:v>3.2944</c:v>
                </c:pt>
                <c:pt idx="28">
                  <c:v>3.2865</c:v>
                </c:pt>
                <c:pt idx="29">
                  <c:v>3.2901</c:v>
                </c:pt>
                <c:pt idx="30">
                  <c:v>3.2904</c:v>
                </c:pt>
                <c:pt idx="31">
                  <c:v>3.1675</c:v>
                </c:pt>
                <c:pt idx="32">
                  <c:v>2.6703</c:v>
                </c:pt>
                <c:pt idx="33">
                  <c:v>2.6644</c:v>
                </c:pt>
                <c:pt idx="34">
                  <c:v>2.8416</c:v>
                </c:pt>
                <c:pt idx="35">
                  <c:v>3.287</c:v>
                </c:pt>
                <c:pt idx="36">
                  <c:v>3.2873</c:v>
                </c:pt>
                <c:pt idx="37">
                  <c:v>3.2928</c:v>
                </c:pt>
                <c:pt idx="38">
                  <c:v>3.2871</c:v>
                </c:pt>
                <c:pt idx="39">
                  <c:v>3.2878</c:v>
                </c:pt>
                <c:pt idx="40">
                  <c:v>3.2925</c:v>
                </c:pt>
                <c:pt idx="41">
                  <c:v>3.2938</c:v>
                </c:pt>
                <c:pt idx="42">
                  <c:v>3.288</c:v>
                </c:pt>
                <c:pt idx="43">
                  <c:v>3.2896</c:v>
                </c:pt>
              </c:numCache>
            </c:numRef>
          </c:xVal>
          <c:yVal>
            <c:numRef>
              <c:f>Sheet1!$B$2:$B$45</c:f>
              <c:numCache>
                <c:formatCode>General</c:formatCode>
                <c:ptCount val="4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pt idx="14">
                  <c:v>0.05538392984813065</c:v>
                </c:pt>
                <c:pt idx="15">
                  <c:v>0.05828294415929802</c:v>
                </c:pt>
                <c:pt idx="16">
                  <c:v>0.053174899085142</c:v>
                </c:pt>
                <c:pt idx="17">
                  <c:v>0.04913188061551172</c:v>
                </c:pt>
                <c:pt idx="18">
                  <c:v>0.055863721403485736</c:v>
                </c:pt>
                <c:pt idx="19">
                  <c:v>0.050590954235394545</c:v>
                </c:pt>
                <c:pt idx="20">
                  <c:v>0.06798389001580384</c:v>
                </c:pt>
                <c:pt idx="21">
                  <c:v>0.04307188634985129</c:v>
                </c:pt>
                <c:pt idx="22">
                  <c:v>0.04777148485594681</c:v>
                </c:pt>
                <c:pt idx="23">
                  <c:v>0.0517479723520716</c:v>
                </c:pt>
                <c:pt idx="24">
                  <c:v>0.04176463143559459</c:v>
                </c:pt>
                <c:pt idx="25">
                  <c:v>0.05384797906582677</c:v>
                </c:pt>
                <c:pt idx="26">
                  <c:v>0.046092501321208644</c:v>
                </c:pt>
                <c:pt idx="27">
                  <c:v>0.048080242903784674</c:v>
                </c:pt>
                <c:pt idx="28">
                  <c:v>0.042785042757448405</c:v>
                </c:pt>
                <c:pt idx="29">
                  <c:v>0.048140329292901046</c:v>
                </c:pt>
                <c:pt idx="30">
                  <c:v>0.051908776584849804</c:v>
                </c:pt>
                <c:pt idx="31">
                  <c:v>0.06537925618067249</c:v>
                </c:pt>
                <c:pt idx="32">
                  <c:v>0.06278425626568616</c:v>
                </c:pt>
                <c:pt idx="33">
                  <c:v>0.06544052671578585</c:v>
                </c:pt>
                <c:pt idx="34">
                  <c:v>0.0640710484445045</c:v>
                </c:pt>
                <c:pt idx="35">
                  <c:v>0.048884002347338674</c:v>
                </c:pt>
                <c:pt idx="36">
                  <c:v>0.06080029369950869</c:v>
                </c:pt>
                <c:pt idx="37">
                  <c:v>0.047626836781985225</c:v>
                </c:pt>
                <c:pt idx="38">
                  <c:v>0.053987691570608065</c:v>
                </c:pt>
                <c:pt idx="39">
                  <c:v>0.05471250321078566</c:v>
                </c:pt>
                <c:pt idx="40">
                  <c:v>0.05118422268216348</c:v>
                </c:pt>
                <c:pt idx="41">
                  <c:v>0.048358942818840414</c:v>
                </c:pt>
                <c:pt idx="42">
                  <c:v>0.05865241708849174</c:v>
                </c:pt>
                <c:pt idx="43">
                  <c:v>0.0558834671225175</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numCache>
            </c:numRef>
          </c:xVal>
          <c:yVal>
            <c:numRef>
              <c:f>Sheet1!$B$48:$B$99</c:f>
              <c:numCache>
                <c:formatCode>General</c:formatCode>
                <c:ptCount val="52"/>
                <c:pt idx="0">
                  <c:v>0.05420836453582045</c:v>
                </c:pt>
                <c:pt idx="1">
                  <c:v>0.0632999984697695</c:v>
                </c:pt>
                <c:pt idx="2">
                  <c:v>0.05925752996827015</c:v>
                </c:pt>
                <c:pt idx="3">
                  <c:v>0.0496586438566346</c:v>
                </c:pt>
                <c:pt idx="4">
                  <c:v>0.07114840026032047</c:v>
                </c:pt>
                <c:pt idx="5">
                  <c:v>0.05272748085173168</c:v>
                </c:pt>
                <c:pt idx="6">
                  <c:v>0.058816038675082075</c:v>
                </c:pt>
                <c:pt idx="7">
                  <c:v>0.05816960342855488</c:v>
                </c:pt>
                <c:pt idx="8">
                  <c:v>0.0544335466215127</c:v>
                </c:pt>
                <c:pt idx="9">
                  <c:v>0.05418459623710726</c:v>
                </c:pt>
                <c:pt idx="10">
                  <c:v>0.054439209360895344</c:v>
                </c:pt>
                <c:pt idx="11">
                  <c:v>0.06509475315249193</c:v>
                </c:pt>
                <c:pt idx="12">
                  <c:v>0.07719145570102388</c:v>
                </c:pt>
                <c:pt idx="13">
                  <c:v>0.06118700880665636</c:v>
                </c:pt>
                <c:pt idx="14">
                  <c:v>0.04205642082635637</c:v>
                </c:pt>
                <c:pt idx="15">
                  <c:v>0.0561426982849807</c:v>
                </c:pt>
                <c:pt idx="16">
                  <c:v>0.05987578068559791</c:v>
                </c:pt>
                <c:pt idx="17">
                  <c:v>0.06697624399836156</c:v>
                </c:pt>
                <c:pt idx="18">
                  <c:v>0.06581733655274627</c:v>
                </c:pt>
                <c:pt idx="19">
                  <c:v>0.055543224555059015</c:v>
                </c:pt>
                <c:pt idx="20">
                  <c:v>0.055860924763759645</c:v>
                </c:pt>
                <c:pt idx="21">
                  <c:v>0.05317026876216504</c:v>
                </c:pt>
                <c:pt idx="22">
                  <c:v>0.08856011202956435</c:v>
                </c:pt>
                <c:pt idx="23">
                  <c:v>0.04101592826209609</c:v>
                </c:pt>
                <c:pt idx="24">
                  <c:v>0.04567560989869353</c:v>
                </c:pt>
                <c:pt idx="25">
                  <c:v>0.06548891470308821</c:v>
                </c:pt>
                <c:pt idx="26">
                  <c:v>0.04951583202553725</c:v>
                </c:pt>
                <c:pt idx="27">
                  <c:v>0.04963514375503034</c:v>
                </c:pt>
                <c:pt idx="28">
                  <c:v>0.0507703183895801</c:v>
                </c:pt>
                <c:pt idx="29">
                  <c:v>0.06191193118107066</c:v>
                </c:pt>
                <c:pt idx="30">
                  <c:v>0.05442746320687241</c:v>
                </c:pt>
                <c:pt idx="31">
                  <c:v>0.05440549943815836</c:v>
                </c:pt>
                <c:pt idx="32">
                  <c:v>0.06154387876086963</c:v>
                </c:pt>
                <c:pt idx="33">
                  <c:v>0.04988370278444516</c:v>
                </c:pt>
                <c:pt idx="34">
                  <c:v>0.057678884392206246</c:v>
                </c:pt>
                <c:pt idx="35">
                  <c:v>0.05145867400155341</c:v>
                </c:pt>
                <c:pt idx="36">
                  <c:v>0.05964466748077628</c:v>
                </c:pt>
                <c:pt idx="37">
                  <c:v>0.04659211041628804</c:v>
                </c:pt>
                <c:pt idx="38">
                  <c:v>0.061233914297261445</c:v>
                </c:pt>
                <c:pt idx="39">
                  <c:v>0.04883249285860175</c:v>
                </c:pt>
                <c:pt idx="40">
                  <c:v>0.05261612120627882</c:v>
                </c:pt>
                <c:pt idx="41">
                  <c:v>0.06462838677603779</c:v>
                </c:pt>
                <c:pt idx="42">
                  <c:v>0.06754978189956355</c:v>
                </c:pt>
                <c:pt idx="43">
                  <c:v>0.04961431193624792</c:v>
                </c:pt>
                <c:pt idx="44">
                  <c:v>0.041400819190340304</c:v>
                </c:pt>
                <c:pt idx="45">
                  <c:v>0.07141027523588214</c:v>
                </c:pt>
                <c:pt idx="46">
                  <c:v>0.06251667128668337</c:v>
                </c:pt>
                <c:pt idx="47">
                  <c:v>0.06157622892486462</c:v>
                </c:pt>
                <c:pt idx="48">
                  <c:v>0.05123888578626157</c:v>
                </c:pt>
                <c:pt idx="49">
                  <c:v>0.05393478496502304</c:v>
                </c:pt>
                <c:pt idx="50">
                  <c:v>0.05563541156633411</c:v>
                </c:pt>
                <c:pt idx="51">
                  <c:v>0.06201240979438375</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9472713043029213</c:v>
                </c:pt>
              </c:numCache>
            </c:numRef>
          </c:xVal>
          <c:yVal>
            <c:numRef>
              <c:f>Sheet1!$B$102:$B$103</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9472713043029213</c:v>
                </c:pt>
                <c:pt idx="1">
                  <c:v>2.9472713043029213</c:v>
                </c:pt>
              </c:numCache>
            </c:numRef>
          </c:xVal>
          <c:yVal>
            <c:numRef>
              <c:f>Sheet1!$B$106:$B$107</c:f>
              <c:numCache>
                <c:formatCode>General</c:formatCode>
                <c:ptCount val="2"/>
                <c:pt idx="0">
                  <c:v>0.059433047778401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9472713043029213</c:v>
                </c:pt>
              </c:numCache>
            </c:numRef>
          </c:xVal>
          <c:yVal>
            <c:numRef>
              <c:f>Sheet1!$B$110:$B$111</c:f>
              <c:numCache>
                <c:formatCode>General</c:formatCode>
                <c:ptCount val="2"/>
                <c:pt idx="0">
                  <c:v>0.05943304777840115</c:v>
                </c:pt>
                <c:pt idx="1">
                  <c:v>0.05943304777840115</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9472713043029213</c:v>
                </c:pt>
                <c:pt idx="1">
                  <c:v>2.9472713043029213</c:v>
                </c:pt>
              </c:numCache>
            </c:numRef>
          </c:xVal>
          <c:yVal>
            <c:numRef>
              <c:f>Sheet1!$B$114:$B$115</c:f>
              <c:numCache>
                <c:formatCode>General</c:formatCode>
                <c:ptCount val="2"/>
                <c:pt idx="0">
                  <c:v>0.0594330477784011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3.315753445196809</c:v>
                </c:pt>
              </c:numCache>
            </c:numRef>
          </c:xVal>
          <c:yVal>
            <c:numRef>
              <c:f>Sheet1!$B$118:$B$119</c:f>
              <c:numCache>
                <c:formatCode>General</c:formatCode>
                <c:ptCount val="2"/>
                <c:pt idx="0">
                  <c:v>0.05715127549434636</c:v>
                </c:pt>
                <c:pt idx="1">
                  <c:v>0.0571512754943463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3.315753445196809</c:v>
                </c:pt>
                <c:pt idx="1">
                  <c:v>3.315753445196809</c:v>
                </c:pt>
              </c:numCache>
            </c:numRef>
          </c:xVal>
          <c:yVal>
            <c:numRef>
              <c:f>Sheet1!$B$122:$B$123</c:f>
              <c:numCache>
                <c:formatCode>General</c:formatCode>
                <c:ptCount val="2"/>
                <c:pt idx="0">
                  <c:v>0.057151275494346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pt idx="52">
                  <c:v>2.9472713043029213</c:v>
                </c:pt>
                <c:pt idx="53">
                  <c:v>2.9472713043029213</c:v>
                </c:pt>
                <c:pt idx="54">
                  <c:v>3.315753445196809</c:v>
                </c:pt>
              </c:numCache>
            </c:numRef>
          </c:xVal>
          <c:yVal>
            <c:numRef>
              <c:f>Sheet1!$B$126:$B$180</c:f>
              <c:numCache>
                <c:formatCode>General</c:formatCode>
                <c:ptCount val="55"/>
                <c:pt idx="0">
                  <c:v>0.056990605212001035</c:v>
                </c:pt>
                <c:pt idx="1">
                  <c:v>0.0571485102684096</c:v>
                </c:pt>
                <c:pt idx="2">
                  <c:v>0.05714293714877165</c:v>
                </c:pt>
                <c:pt idx="3">
                  <c:v>0.05714293714877165</c:v>
                </c:pt>
                <c:pt idx="4">
                  <c:v>0.05713426785155706</c:v>
                </c:pt>
                <c:pt idx="5">
                  <c:v>0.05713674479361837</c:v>
                </c:pt>
                <c:pt idx="6">
                  <c:v>0.057189379812421226</c:v>
                </c:pt>
                <c:pt idx="7">
                  <c:v>0.05648530903149364</c:v>
                </c:pt>
                <c:pt idx="8">
                  <c:v>0.0562698150721596</c:v>
                </c:pt>
                <c:pt idx="9">
                  <c:v>0.05628839213761942</c:v>
                </c:pt>
                <c:pt idx="10">
                  <c:v>0.05633235785920769</c:v>
                </c:pt>
                <c:pt idx="11">
                  <c:v>0.05844023555338317</c:v>
                </c:pt>
                <c:pt idx="12">
                  <c:v>0.06028865356663635</c:v>
                </c:pt>
                <c:pt idx="13">
                  <c:v>0.060285557389059705</c:v>
                </c:pt>
                <c:pt idx="14">
                  <c:v>0.05849658598527799</c:v>
                </c:pt>
                <c:pt idx="15">
                  <c:v>0.05636208116394342</c:v>
                </c:pt>
                <c:pt idx="16">
                  <c:v>0.05630696920307926</c:v>
                </c:pt>
                <c:pt idx="17">
                  <c:v>0.057134887087072386</c:v>
                </c:pt>
                <c:pt idx="18">
                  <c:v>0.058565940362994694</c:v>
                </c:pt>
                <c:pt idx="19">
                  <c:v>0.058575848131239935</c:v>
                </c:pt>
                <c:pt idx="20">
                  <c:v>0.057440170196128945</c:v>
                </c:pt>
                <c:pt idx="21">
                  <c:v>0.05628653443107344</c:v>
                </c:pt>
                <c:pt idx="22">
                  <c:v>0.05631192308720188</c:v>
                </c:pt>
                <c:pt idx="23">
                  <c:v>0.05628219978246615</c:v>
                </c:pt>
                <c:pt idx="24">
                  <c:v>0.05634288486296826</c:v>
                </c:pt>
                <c:pt idx="25">
                  <c:v>0.05628591519555812</c:v>
                </c:pt>
                <c:pt idx="26">
                  <c:v>0.056783161314366254</c:v>
                </c:pt>
                <c:pt idx="27">
                  <c:v>0.05684570410141435</c:v>
                </c:pt>
                <c:pt idx="28">
                  <c:v>0.05678687672745822</c:v>
                </c:pt>
                <c:pt idx="29">
                  <c:v>0.056832080920077147</c:v>
                </c:pt>
                <c:pt idx="30">
                  <c:v>0.056802357615341414</c:v>
                </c:pt>
                <c:pt idx="31">
                  <c:v>0.05681412309013264</c:v>
                </c:pt>
                <c:pt idx="32">
                  <c:v>0.0567707766040597</c:v>
                </c:pt>
                <c:pt idx="33">
                  <c:v>0.05686180422481288</c:v>
                </c:pt>
                <c:pt idx="34">
                  <c:v>0.05804640176563476</c:v>
                </c:pt>
                <c:pt idx="35">
                  <c:v>0.059061328775256855</c:v>
                </c:pt>
                <c:pt idx="36">
                  <c:v>0.05906442495283349</c:v>
                </c:pt>
                <c:pt idx="37">
                  <c:v>0.05909229055102323</c:v>
                </c:pt>
                <c:pt idx="38">
                  <c:v>0.057796849852957695</c:v>
                </c:pt>
                <c:pt idx="39">
                  <c:v>0.056836415568684434</c:v>
                </c:pt>
                <c:pt idx="40">
                  <c:v>0.056810407677040674</c:v>
                </c:pt>
                <c:pt idx="41">
                  <c:v>0.05805569029836467</c:v>
                </c:pt>
                <c:pt idx="42">
                  <c:v>0.05904770559391964</c:v>
                </c:pt>
                <c:pt idx="43">
                  <c:v>0.058946150969405905</c:v>
                </c:pt>
                <c:pt idx="44">
                  <c:v>0.05798200127204067</c:v>
                </c:pt>
                <c:pt idx="45">
                  <c:v>0.05683270015559247</c:v>
                </c:pt>
                <c:pt idx="46">
                  <c:v>0.05685499263414427</c:v>
                </c:pt>
                <c:pt idx="47">
                  <c:v>0.05687914281924204</c:v>
                </c:pt>
                <c:pt idx="48">
                  <c:v>0.05674353024138528</c:v>
                </c:pt>
                <c:pt idx="49">
                  <c:v>0.05678254207885093</c:v>
                </c:pt>
                <c:pt idx="50">
                  <c:v>0.056838892510745746</c:v>
                </c:pt>
                <c:pt idx="51">
                  <c:v>0.05683270015559247</c:v>
                </c:pt>
                <c:pt idx="52">
                  <c:v>0.05943304777840115</c:v>
                </c:pt>
                <c:pt idx="53">
                  <c:v>0.05943304777840115</c:v>
                </c:pt>
                <c:pt idx="54">
                  <c:v>0.057151275494346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627213443547721"/>
          <c:min val="0.032812742609676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3568218364738382</c:v>
                </c:pt>
                <c:pt idx="1">
                  <c:v>1.35425343284813</c:v>
                </c:pt>
                <c:pt idx="2">
                  <c:v>1.359876288659794</c:v>
                </c:pt>
                <c:pt idx="3">
                  <c:v>1.3567835051546393</c:v>
                </c:pt>
                <c:pt idx="4">
                  <c:v>1.3570014844136566</c:v>
                </c:pt>
                <c:pt idx="5">
                  <c:v>1.3556142014762278</c:v>
                </c:pt>
                <c:pt idx="6">
                  <c:v>1.358609599208313</c:v>
                </c:pt>
                <c:pt idx="7">
                  <c:v>1.3569190169882897</c:v>
                </c:pt>
                <c:pt idx="8">
                  <c:v>1.3566185567010312</c:v>
                </c:pt>
                <c:pt idx="9">
                  <c:v>1.3564123711340206</c:v>
                </c:pt>
                <c:pt idx="10">
                  <c:v>1.3572518454369251</c:v>
                </c:pt>
                <c:pt idx="11">
                  <c:v>1.3562061855670104</c:v>
                </c:pt>
                <c:pt idx="12">
                  <c:v>1.3565479135741383</c:v>
                </c:pt>
                <c:pt idx="13">
                  <c:v>1.3573990846493218</c:v>
                </c:pt>
              </c:numCache>
            </c:numRef>
          </c:xVal>
          <c:yVal>
            <c:numRef>
              <c:f>Sheet1!$B$2:$B$15</c:f>
              <c:numCache>
                <c:formatCode>General</c:formatCode>
                <c:ptCount val="1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5381258726671421</c:v>
                </c:pt>
              </c:numCache>
            </c:numRef>
          </c:xVal>
          <c:yVal>
            <c:numRef>
              <c:f>Sheet1!$B$20:$B$21</c:f>
              <c:numCache>
                <c:formatCode>General</c:formatCode>
                <c:ptCount val="2"/>
                <c:pt idx="0">
                  <c:v>0.05381258726671421</c:v>
                </c:pt>
                <c:pt idx="1">
                  <c:v>0.05381258726671421</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5381258726671421</c:v>
                </c:pt>
                <c:pt idx="1">
                  <c:v>0.05381258726671421</c:v>
                </c:pt>
              </c:numCache>
            </c:numRef>
          </c:xVal>
          <c:yVal>
            <c:numRef>
              <c:f>Sheet1!$B$24:$B$25</c:f>
              <c:numCache>
                <c:formatCode>General</c:formatCode>
                <c:ptCount val="2"/>
                <c:pt idx="0">
                  <c:v>0.0538125872667142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5381258726671421</c:v>
                </c:pt>
                <c:pt idx="2">
                  <c:v>0</c:v>
                </c:pt>
              </c:numCache>
            </c:numRef>
          </c:xVal>
          <c:yVal>
            <c:numRef>
              <c:f>Sheet1!$B$28:$B$30</c:f>
              <c:numCache>
                <c:formatCode>General</c:formatCode>
                <c:ptCount val="3"/>
                <c:pt idx="0">
                  <c:v>0</c:v>
                </c:pt>
                <c:pt idx="1">
                  <c:v>0.05381258726671421</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039628729922773"/>
          <c:min val="0.03756884917302509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3.2907</c:v>
                </c:pt>
                <c:pt idx="1">
                  <c:v>3.2842</c:v>
                </c:pt>
                <c:pt idx="2">
                  <c:v>3.2977</c:v>
                </c:pt>
                <c:pt idx="3">
                  <c:v>3.2902</c:v>
                </c:pt>
                <c:pt idx="4">
                  <c:v>3.291</c:v>
                </c:pt>
                <c:pt idx="5">
                  <c:v>3.2875</c:v>
                </c:pt>
                <c:pt idx="6">
                  <c:v>3.2949</c:v>
                </c:pt>
                <c:pt idx="7">
                  <c:v>3.2908</c:v>
                </c:pt>
                <c:pt idx="8">
                  <c:v>3.2898</c:v>
                </c:pt>
                <c:pt idx="9">
                  <c:v>3.2893</c:v>
                </c:pt>
                <c:pt idx="10">
                  <c:v>3.2912</c:v>
                </c:pt>
                <c:pt idx="11">
                  <c:v>3.2888</c:v>
                </c:pt>
                <c:pt idx="12">
                  <c:v>3.2899</c:v>
                </c:pt>
                <c:pt idx="13">
                  <c:v>3.2921</c:v>
                </c:pt>
              </c:numCache>
            </c:numRef>
          </c:xVal>
          <c:yVal>
            <c:numRef>
              <c:f>Sheet1!$B$2:$B$15</c:f>
              <c:numCache>
                <c:formatCode>General</c:formatCode>
                <c:ptCount val="14"/>
                <c:pt idx="0">
                  <c:v>0.053527223738366825</c:v>
                </c:pt>
                <c:pt idx="1">
                  <c:v>0.05866357274935644</c:v>
                </c:pt>
                <c:pt idx="2">
                  <c:v>0.046961061466281366</c:v>
                </c:pt>
                <c:pt idx="3">
                  <c:v>0.05314089045910589</c:v>
                </c:pt>
                <c:pt idx="4">
                  <c:v>0.05677018792046049</c:v>
                </c:pt>
                <c:pt idx="5">
                  <c:v>0.04909924923965597</c:v>
                </c:pt>
                <c:pt idx="6">
                  <c:v>0.05206919633753008</c:v>
                </c:pt>
                <c:pt idx="7">
                  <c:v>0.05214825448092988</c:v>
                </c:pt>
                <c:pt idx="8">
                  <c:v>0.04756402837677555</c:v>
                </c:pt>
                <c:pt idx="9">
                  <c:v>0.05082173805171155</c:v>
                </c:pt>
                <c:pt idx="10">
                  <c:v>0.049730582051210656</c:v>
                </c:pt>
                <c:pt idx="11">
                  <c:v>0.052476720727036776</c:v>
                </c:pt>
                <c:pt idx="12">
                  <c:v>0.05534433520581617</c:v>
                </c:pt>
                <c:pt idx="13">
                  <c:v>0.051872592673532385</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5381258726671421</c:v>
                </c:pt>
              </c:numCache>
            </c:numRef>
          </c:xVal>
          <c:yVal>
            <c:numRef>
              <c:f>Sheet1!$B$20:$B$21</c:f>
              <c:numCache>
                <c:formatCode>General</c:formatCode>
                <c:ptCount val="2"/>
                <c:pt idx="0">
                  <c:v>0.05381258726671421</c:v>
                </c:pt>
                <c:pt idx="1">
                  <c:v>0.05381258726671421</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5381258726671421</c:v>
                </c:pt>
                <c:pt idx="1">
                  <c:v>0.05381258726671421</c:v>
                </c:pt>
              </c:numCache>
            </c:numRef>
          </c:xVal>
          <c:yVal>
            <c:numRef>
              <c:f>Sheet1!$B$24:$B$25</c:f>
              <c:numCache>
                <c:formatCode>General</c:formatCode>
                <c:ptCount val="2"/>
                <c:pt idx="0">
                  <c:v>0.0538125872667142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5381258726671421</c:v>
                </c:pt>
                <c:pt idx="2">
                  <c:v>0</c:v>
                </c:pt>
              </c:numCache>
            </c:numRef>
          </c:xVal>
          <c:yVal>
            <c:numRef>
              <c:f>Sheet1!$B$28:$B$30</c:f>
              <c:numCache>
                <c:formatCode>General</c:formatCode>
                <c:ptCount val="3"/>
                <c:pt idx="0">
                  <c:v>0</c:v>
                </c:pt>
                <c:pt idx="1">
                  <c:v>0.05381258726671421</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039628729922773"/>
          <c:min val="0.03756884917302509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46400069022043916</c:v>
                </c:pt>
                <c:pt idx="1">
                  <c:v>0.4651022344922785</c:v>
                </c:pt>
                <c:pt idx="2">
                  <c:v>0.4656198774911569</c:v>
                </c:pt>
                <c:pt idx="3">
                  <c:v>0.4654473298248641</c:v>
                </c:pt>
                <c:pt idx="4">
                  <c:v>0.46643947890604776</c:v>
                </c:pt>
                <c:pt idx="5">
                  <c:v>0.4661375204900354</c:v>
                </c:pt>
                <c:pt idx="6">
                  <c:v>0.46639634198947455</c:v>
                </c:pt>
                <c:pt idx="7">
                  <c:v>0.466266931239755</c:v>
                </c:pt>
                <c:pt idx="8">
                  <c:v>0.501466655163489</c:v>
                </c:pt>
                <c:pt idx="9">
                  <c:v>0.5460270899836079</c:v>
                </c:pt>
                <c:pt idx="10">
                  <c:v>0.5477957035631094</c:v>
                </c:pt>
                <c:pt idx="11">
                  <c:v>0.5477525666465362</c:v>
                </c:pt>
                <c:pt idx="12">
                  <c:v>0.5475800189802433</c:v>
                </c:pt>
                <c:pt idx="13">
                  <c:v>0.5484427573117074</c:v>
                </c:pt>
                <c:pt idx="14">
                  <c:v>0.5479251143128289</c:v>
                </c:pt>
                <c:pt idx="15">
                  <c:v>0.5479682512294021</c:v>
                </c:pt>
                <c:pt idx="16">
                  <c:v>0.5484858942282805</c:v>
                </c:pt>
                <c:pt idx="17">
                  <c:v>0.5480976619791217</c:v>
                </c:pt>
                <c:pt idx="18">
                  <c:v>0.5482507225745222</c:v>
                </c:pt>
                <c:pt idx="19">
                  <c:v>0.548356483478561</c:v>
                </c:pt>
                <c:pt idx="20">
                  <c:v>0.5481839358122681</c:v>
                </c:pt>
                <c:pt idx="21">
                  <c:v>0.548356483478561</c:v>
                </c:pt>
                <c:pt idx="22">
                  <c:v>0.5521956690535761</c:v>
                </c:pt>
                <c:pt idx="23">
                  <c:v>0.5577603312915193</c:v>
                </c:pt>
                <c:pt idx="24">
                  <c:v>0.5561642653783107</c:v>
                </c:pt>
                <c:pt idx="25">
                  <c:v>0.5584936588732637</c:v>
                </c:pt>
                <c:pt idx="26">
                  <c:v>0.5581054266241049</c:v>
                </c:pt>
                <c:pt idx="27">
                  <c:v>0.5578466051246657</c:v>
                </c:pt>
                <c:pt idx="28">
                  <c:v>0.5575446467086532</c:v>
                </c:pt>
                <c:pt idx="29">
                  <c:v>0.5571564144594945</c:v>
                </c:pt>
                <c:pt idx="30">
                  <c:v>0.5567922005090375</c:v>
                </c:pt>
                <c:pt idx="31">
                  <c:v>0.5578034682080925</c:v>
                </c:pt>
                <c:pt idx="32">
                  <c:v>0.55750150979208</c:v>
                </c:pt>
                <c:pt idx="33">
                  <c:v>0.5570701406263481</c:v>
                </c:pt>
                <c:pt idx="34">
                  <c:v>0.5570270037097748</c:v>
                </c:pt>
                <c:pt idx="35">
                  <c:v>0.5573289621257873</c:v>
                </c:pt>
                <c:pt idx="36">
                  <c:v>0.557180449506061</c:v>
                </c:pt>
                <c:pt idx="37">
                  <c:v>0.5573289621257873</c:v>
                </c:pt>
                <c:pt idx="38">
                  <c:v>0.5574583728755068</c:v>
                </c:pt>
                <c:pt idx="39">
                  <c:v>0.5567681822103355</c:v>
                </c:pt>
                <c:pt idx="40">
                  <c:v>0.5568113191269087</c:v>
                </c:pt>
                <c:pt idx="41">
                  <c:v>0.5576740574583728</c:v>
                </c:pt>
                <c:pt idx="42">
                  <c:v>0.5580622897075317</c:v>
                </c:pt>
                <c:pt idx="43">
                  <c:v>0.559399534121301</c:v>
                </c:pt>
              </c:numCache>
            </c:numRef>
          </c:xVal>
          <c:yVal>
            <c:numRef>
              <c:f>Sheet1!$B$2:$B$45</c:f>
              <c:numCache>
                <c:formatCode>General</c:formatCode>
                <c:ptCount val="4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pt idx="14">
                  <c:v>0.1518651964125978</c:v>
                </c:pt>
                <c:pt idx="15">
                  <c:v>0.1504013448624766</c:v>
                </c:pt>
                <c:pt idx="16">
                  <c:v>0.14288748305163024</c:v>
                </c:pt>
                <c:pt idx="17">
                  <c:v>0.14797397500774553</c:v>
                </c:pt>
                <c:pt idx="18">
                  <c:v>0.15252222853717481</c:v>
                </c:pt>
                <c:pt idx="19">
                  <c:v>0.16283995696512849</c:v>
                </c:pt>
                <c:pt idx="20">
                  <c:v>0.15315737240602595</c:v>
                </c:pt>
                <c:pt idx="21">
                  <c:v>0.1523951154990098</c:v>
                </c:pt>
                <c:pt idx="22">
                  <c:v>0.14583372795635785</c:v>
                </c:pt>
                <c:pt idx="23">
                  <c:v>0.15323664549123017</c:v>
                </c:pt>
                <c:pt idx="24">
                  <c:v>0.1670193101260069</c:v>
                </c:pt>
                <c:pt idx="25">
                  <c:v>0.1609670903863616</c:v>
                </c:pt>
                <c:pt idx="26">
                  <c:v>0.14148247968038966</c:v>
                </c:pt>
                <c:pt idx="27">
                  <c:v>0.14781384276598883</c:v>
                </c:pt>
                <c:pt idx="28">
                  <c:v>0.1565551762865177</c:v>
                </c:pt>
                <c:pt idx="29">
                  <c:v>0.15108824484305072</c:v>
                </c:pt>
                <c:pt idx="30">
                  <c:v>0.1502032784717426</c:v>
                </c:pt>
                <c:pt idx="31">
                  <c:v>0.15099884163712368</c:v>
                </c:pt>
                <c:pt idx="32">
                  <c:v>0.1469827647398572</c:v>
                </c:pt>
                <c:pt idx="33">
                  <c:v>0.139377284384369</c:v>
                </c:pt>
                <c:pt idx="34">
                  <c:v>0.14250558426953452</c:v>
                </c:pt>
                <c:pt idx="35">
                  <c:v>0.14703648492779237</c:v>
                </c:pt>
                <c:pt idx="36">
                  <c:v>0.13678848578048583</c:v>
                </c:pt>
                <c:pt idx="37">
                  <c:v>0.1643596139690848</c:v>
                </c:pt>
                <c:pt idx="38">
                  <c:v>0.14875347208359238</c:v>
                </c:pt>
                <c:pt idx="39">
                  <c:v>0.1495564286189579</c:v>
                </c:pt>
                <c:pt idx="40">
                  <c:v>0.15433793580739952</c:v>
                </c:pt>
                <c:pt idx="41">
                  <c:v>0.1451561330731467</c:v>
                </c:pt>
                <c:pt idx="42">
                  <c:v>0.16362260242595655</c:v>
                </c:pt>
                <c:pt idx="43">
                  <c:v>0.1587977376947785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452074885687171</c:v>
                </c:pt>
                <c:pt idx="1">
                  <c:v>0.5631524458631697</c:v>
                </c:pt>
                <c:pt idx="2">
                  <c:v>0.5576309205417996</c:v>
                </c:pt>
                <c:pt idx="3">
                  <c:v>0.5562505392114572</c:v>
                </c:pt>
                <c:pt idx="4">
                  <c:v>0.5732033474247261</c:v>
                </c:pt>
                <c:pt idx="5">
                  <c:v>0.5568544560434819</c:v>
                </c:pt>
                <c:pt idx="6">
                  <c:v>0.559615218704167</c:v>
                </c:pt>
                <c:pt idx="7">
                  <c:v>0.5619014752825467</c:v>
                </c:pt>
                <c:pt idx="8">
                  <c:v>0.5606936416184971</c:v>
                </c:pt>
                <c:pt idx="9">
                  <c:v>0.5609524631179363</c:v>
                </c:pt>
                <c:pt idx="10">
                  <c:v>0.5606315517018249</c:v>
                </c:pt>
                <c:pt idx="11">
                  <c:v>0.5612544215339487</c:v>
                </c:pt>
                <c:pt idx="12">
                  <c:v>0.5589250280389958</c:v>
                </c:pt>
                <c:pt idx="13">
                  <c:v>0.5570270037097748</c:v>
                </c:pt>
                <c:pt idx="14">
                  <c:v>0.5591407126218618</c:v>
                </c:pt>
                <c:pt idx="15">
                  <c:v>0.5593563972047277</c:v>
                </c:pt>
                <c:pt idx="16">
                  <c:v>0.5590113018721422</c:v>
                </c:pt>
                <c:pt idx="17">
                  <c:v>0.5611250107842292</c:v>
                </c:pt>
                <c:pt idx="18">
                  <c:v>0.5601759986196186</c:v>
                </c:pt>
                <c:pt idx="19">
                  <c:v>0.5600034509533258</c:v>
                </c:pt>
                <c:pt idx="20">
                  <c:v>0.5609956000345095</c:v>
                </c:pt>
                <c:pt idx="21">
                  <c:v>0.5612112846173755</c:v>
                </c:pt>
                <c:pt idx="22">
                  <c:v>0.5517642998878439</c:v>
                </c:pt>
                <c:pt idx="23">
                  <c:v>0.5539019024200855</c:v>
                </c:pt>
                <c:pt idx="24">
                  <c:v>0.5542662410490897</c:v>
                </c:pt>
                <c:pt idx="25">
                  <c:v>0.5568544560434819</c:v>
                </c:pt>
                <c:pt idx="26">
                  <c:v>0.5178155465447329</c:v>
                </c:pt>
                <c:pt idx="27">
                  <c:v>0.5192822017082219</c:v>
                </c:pt>
                <c:pt idx="28">
                  <c:v>0.5212233629540161</c:v>
                </c:pt>
                <c:pt idx="29">
                  <c:v>0.5226900181175049</c:v>
                </c:pt>
                <c:pt idx="30">
                  <c:v>0.5236821671986887</c:v>
                </c:pt>
                <c:pt idx="31">
                  <c:v>0.5226900181175049</c:v>
                </c:pt>
                <c:pt idx="32">
                  <c:v>0.524415494780433</c:v>
                </c:pt>
                <c:pt idx="33">
                  <c:v>0.5225831499935293</c:v>
                </c:pt>
                <c:pt idx="34">
                  <c:v>0.5241135363644207</c:v>
                </c:pt>
                <c:pt idx="35">
                  <c:v>0.52208610128548</c:v>
                </c:pt>
                <c:pt idx="36">
                  <c:v>0.5213096367871624</c:v>
                </c:pt>
                <c:pt idx="37">
                  <c:v>0.5230782503666638</c:v>
                </c:pt>
                <c:pt idx="38">
                  <c:v>0.5204037615391252</c:v>
                </c:pt>
                <c:pt idx="39">
                  <c:v>0.5206625830385644</c:v>
                </c:pt>
                <c:pt idx="40">
                  <c:v>0.5190233802087827</c:v>
                </c:pt>
                <c:pt idx="41">
                  <c:v>0.5207713213407532</c:v>
                </c:pt>
                <c:pt idx="42">
                  <c:v>0.5214821844534553</c:v>
                </c:pt>
                <c:pt idx="43">
                  <c:v>0.5230351134500906</c:v>
                </c:pt>
                <c:pt idx="44">
                  <c:v>0.5207057199551376</c:v>
                </c:pt>
                <c:pt idx="45">
                  <c:v>0.5228194288672245</c:v>
                </c:pt>
                <c:pt idx="46">
                  <c:v>0.5227762919506513</c:v>
                </c:pt>
                <c:pt idx="47">
                  <c:v>0.5218272797860409</c:v>
                </c:pt>
                <c:pt idx="48">
                  <c:v>0.5212664998705893</c:v>
                </c:pt>
                <c:pt idx="49">
                  <c:v>0.5222380397739528</c:v>
                </c:pt>
                <c:pt idx="50">
                  <c:v>0.5218066519994824</c:v>
                </c:pt>
                <c:pt idx="51">
                  <c:v>0.5216115952031749</c:v>
                </c:pt>
              </c:numCache>
            </c:numRef>
          </c:xVal>
          <c:yVal>
            <c:numRef>
              <c:f>Sheet1!$B$48:$B$99</c:f>
              <c:numCache>
                <c:formatCode>General</c:formatCode>
                <c:ptCount val="52"/>
                <c:pt idx="0">
                  <c:v>0.14233729951614082</c:v>
                </c:pt>
                <c:pt idx="1">
                  <c:v>0.13547050158539933</c:v>
                </c:pt>
                <c:pt idx="2">
                  <c:v>0.1690771295941739</c:v>
                </c:pt>
                <c:pt idx="3">
                  <c:v>0.18288090927967512</c:v>
                </c:pt>
                <c:pt idx="4">
                  <c:v>0.0953042642135566</c:v>
                </c:pt>
                <c:pt idx="5">
                  <c:v>0.1509543717229806</c:v>
                </c:pt>
                <c:pt idx="6">
                  <c:v>0.14486832783059278</c:v>
                </c:pt>
                <c:pt idx="7">
                  <c:v>0.13731304385596593</c:v>
                </c:pt>
                <c:pt idx="8">
                  <c:v>0.13133216471212442</c:v>
                </c:pt>
                <c:pt idx="9">
                  <c:v>0.13166748315172058</c:v>
                </c:pt>
                <c:pt idx="10">
                  <c:v>0.13313595653465768</c:v>
                </c:pt>
                <c:pt idx="11">
                  <c:v>0.1346395234648698</c:v>
                </c:pt>
                <c:pt idx="12">
                  <c:v>0.14108112159921313</c:v>
                </c:pt>
                <c:pt idx="13">
                  <c:v>0.13562658925279167</c:v>
                </c:pt>
                <c:pt idx="14">
                  <c:v>0.12882416743399602</c:v>
                </c:pt>
                <c:pt idx="15">
                  <c:v>0.128530228845749</c:v>
                </c:pt>
                <c:pt idx="16">
                  <c:v>0.13573635325822972</c:v>
                </c:pt>
                <c:pt idx="17">
                  <c:v>0.1286958198614644</c:v>
                </c:pt>
                <c:pt idx="18">
                  <c:v>0.13788254866593994</c:v>
                </c:pt>
                <c:pt idx="19">
                  <c:v>0.13982859752227003</c:v>
                </c:pt>
                <c:pt idx="20">
                  <c:v>0.13162134218182692</c:v>
                </c:pt>
                <c:pt idx="21">
                  <c:v>0.12438817833118775</c:v>
                </c:pt>
                <c:pt idx="22">
                  <c:v>0.12007833377114856</c:v>
                </c:pt>
                <c:pt idx="23">
                  <c:v>0.13386135447877642</c:v>
                </c:pt>
                <c:pt idx="24">
                  <c:v>0.1298234784654061</c:v>
                </c:pt>
                <c:pt idx="25">
                  <c:v>0.12184025816255198</c:v>
                </c:pt>
                <c:pt idx="26">
                  <c:v>0.13869505434439333</c:v>
                </c:pt>
                <c:pt idx="27">
                  <c:v>0.1287914157758163</c:v>
                </c:pt>
                <c:pt idx="28">
                  <c:v>0.13421523305022626</c:v>
                </c:pt>
                <c:pt idx="29">
                  <c:v>0.12093829243146388</c:v>
                </c:pt>
                <c:pt idx="30">
                  <c:v>0.1361533309147633</c:v>
                </c:pt>
                <c:pt idx="31">
                  <c:v>0.12895091847587686</c:v>
                </c:pt>
                <c:pt idx="32">
                  <c:v>0.1482863061293544</c:v>
                </c:pt>
                <c:pt idx="33">
                  <c:v>0.13859729952663688</c:v>
                </c:pt>
                <c:pt idx="34">
                  <c:v>0.1279770679274867</c:v>
                </c:pt>
                <c:pt idx="35">
                  <c:v>0.12487130937597807</c:v>
                </c:pt>
                <c:pt idx="36">
                  <c:v>0.13392643176296584</c:v>
                </c:pt>
                <c:pt idx="37">
                  <c:v>0.14214919611843335</c:v>
                </c:pt>
                <c:pt idx="38">
                  <c:v>0.12416430011391881</c:v>
                </c:pt>
                <c:pt idx="39">
                  <c:v>0.12558562342321092</c:v>
                </c:pt>
                <c:pt idx="40">
                  <c:v>0.13469320865667325</c:v>
                </c:pt>
                <c:pt idx="41">
                  <c:v>0.12273705852365846</c:v>
                </c:pt>
                <c:pt idx="42">
                  <c:v>0.1274525009452161</c:v>
                </c:pt>
                <c:pt idx="43">
                  <c:v>0.14054360433472093</c:v>
                </c:pt>
                <c:pt idx="44">
                  <c:v>0.1326310818887486</c:v>
                </c:pt>
                <c:pt idx="45">
                  <c:v>0.12613216511123945</c:v>
                </c:pt>
                <c:pt idx="46">
                  <c:v>0.12972091612316092</c:v>
                </c:pt>
                <c:pt idx="47">
                  <c:v>0.123147248002284</c:v>
                </c:pt>
                <c:pt idx="48">
                  <c:v>0.1368328960637704</c:v>
                </c:pt>
                <c:pt idx="49">
                  <c:v>0.13202031081704876</c:v>
                </c:pt>
                <c:pt idx="50">
                  <c:v>0.1423553657204123</c:v>
                </c:pt>
                <c:pt idx="51">
                  <c:v>0.13643537568344513</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004132605652942</c:v>
                </c:pt>
              </c:numCache>
            </c:numRef>
          </c:xVal>
          <c:yVal>
            <c:numRef>
              <c:f>Sheet1!$B$102:$B$103</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004132605652942</c:v>
                </c:pt>
                <c:pt idx="1">
                  <c:v>1.004132605652942</c:v>
                </c:pt>
              </c:numCache>
            </c:numRef>
          </c:xVal>
          <c:yVal>
            <c:numRef>
              <c:f>Sheet1!$B$106:$B$107</c:f>
              <c:numCache>
                <c:formatCode>General</c:formatCode>
                <c:ptCount val="2"/>
                <c:pt idx="0">
                  <c:v>0.157466929984192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6750653306249456</c:v>
                </c:pt>
              </c:numCache>
            </c:numRef>
          </c:xVal>
          <c:yVal>
            <c:numRef>
              <c:f>Sheet1!$B$110:$B$111</c:f>
              <c:numCache>
                <c:formatCode>General</c:formatCode>
                <c:ptCount val="2"/>
                <c:pt idx="0">
                  <c:v>0.1407740074662362</c:v>
                </c:pt>
                <c:pt idx="1">
                  <c:v>0.1407740074662362</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6750653306249456</c:v>
                </c:pt>
                <c:pt idx="1">
                  <c:v>0.6750653306249456</c:v>
                </c:pt>
              </c:numCache>
            </c:numRef>
          </c:xVal>
          <c:yVal>
            <c:numRef>
              <c:f>Sheet1!$B$114:$B$115</c:f>
              <c:numCache>
                <c:formatCode>General</c:formatCode>
                <c:ptCount val="2"/>
                <c:pt idx="0">
                  <c:v>0.1407740074662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4934409241035546</c:v>
                </c:pt>
              </c:numCache>
            </c:numRef>
          </c:xVal>
          <c:yVal>
            <c:numRef>
              <c:f>Sheet1!$B$118:$B$119</c:f>
              <c:numCache>
                <c:formatCode>General</c:formatCode>
                <c:ptCount val="2"/>
                <c:pt idx="0">
                  <c:v>0.13156056579181455</c:v>
                </c:pt>
                <c:pt idx="1">
                  <c:v>0.13156056579181455</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4934409241035546</c:v>
                </c:pt>
                <c:pt idx="1">
                  <c:v>0.4934409241035546</c:v>
                </c:pt>
              </c:numCache>
            </c:numRef>
          </c:xVal>
          <c:yVal>
            <c:numRef>
              <c:f>Sheet1!$B$122:$B$123</c:f>
              <c:numCache>
                <c:formatCode>General</c:formatCode>
                <c:ptCount val="2"/>
                <c:pt idx="0">
                  <c:v>0.131560565791814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452074885687171</c:v>
                </c:pt>
                <c:pt idx="1">
                  <c:v>0.5631524458631697</c:v>
                </c:pt>
                <c:pt idx="2">
                  <c:v>0.5576309205417996</c:v>
                </c:pt>
                <c:pt idx="3">
                  <c:v>0.5562505392114572</c:v>
                </c:pt>
                <c:pt idx="4">
                  <c:v>0.5732033474247261</c:v>
                </c:pt>
                <c:pt idx="5">
                  <c:v>0.5568544560434819</c:v>
                </c:pt>
                <c:pt idx="6">
                  <c:v>0.559615218704167</c:v>
                </c:pt>
                <c:pt idx="7">
                  <c:v>0.5619014752825467</c:v>
                </c:pt>
                <c:pt idx="8">
                  <c:v>0.5606936416184971</c:v>
                </c:pt>
                <c:pt idx="9">
                  <c:v>0.5609524631179363</c:v>
                </c:pt>
                <c:pt idx="10">
                  <c:v>0.5606315517018249</c:v>
                </c:pt>
                <c:pt idx="11">
                  <c:v>0.5612544215339487</c:v>
                </c:pt>
                <c:pt idx="12">
                  <c:v>0.5589250280389958</c:v>
                </c:pt>
                <c:pt idx="13">
                  <c:v>0.5570270037097748</c:v>
                </c:pt>
                <c:pt idx="14">
                  <c:v>0.5591407126218618</c:v>
                </c:pt>
                <c:pt idx="15">
                  <c:v>0.5593563972047277</c:v>
                </c:pt>
                <c:pt idx="16">
                  <c:v>0.5590113018721422</c:v>
                </c:pt>
                <c:pt idx="17">
                  <c:v>0.5611250107842292</c:v>
                </c:pt>
                <c:pt idx="18">
                  <c:v>0.5601759986196186</c:v>
                </c:pt>
                <c:pt idx="19">
                  <c:v>0.5600034509533258</c:v>
                </c:pt>
                <c:pt idx="20">
                  <c:v>0.5609956000345095</c:v>
                </c:pt>
                <c:pt idx="21">
                  <c:v>0.5612112846173755</c:v>
                </c:pt>
                <c:pt idx="22">
                  <c:v>0.5517642998878439</c:v>
                </c:pt>
                <c:pt idx="23">
                  <c:v>0.5539019024200855</c:v>
                </c:pt>
                <c:pt idx="24">
                  <c:v>0.5542662410490897</c:v>
                </c:pt>
                <c:pt idx="25">
                  <c:v>0.5568544560434819</c:v>
                </c:pt>
                <c:pt idx="26">
                  <c:v>0.5178155465447329</c:v>
                </c:pt>
                <c:pt idx="27">
                  <c:v>0.5192822017082219</c:v>
                </c:pt>
                <c:pt idx="28">
                  <c:v>0.5212233629540161</c:v>
                </c:pt>
                <c:pt idx="29">
                  <c:v>0.5226900181175049</c:v>
                </c:pt>
                <c:pt idx="30">
                  <c:v>0.5236821671986887</c:v>
                </c:pt>
                <c:pt idx="31">
                  <c:v>0.5226900181175049</c:v>
                </c:pt>
                <c:pt idx="32">
                  <c:v>0.524415494780433</c:v>
                </c:pt>
                <c:pt idx="33">
                  <c:v>0.5225831499935293</c:v>
                </c:pt>
                <c:pt idx="34">
                  <c:v>0.5241135363644207</c:v>
                </c:pt>
                <c:pt idx="35">
                  <c:v>0.52208610128548</c:v>
                </c:pt>
                <c:pt idx="36">
                  <c:v>0.5213096367871624</c:v>
                </c:pt>
                <c:pt idx="37">
                  <c:v>0.5230782503666638</c:v>
                </c:pt>
                <c:pt idx="38">
                  <c:v>0.5204037615391252</c:v>
                </c:pt>
                <c:pt idx="39">
                  <c:v>0.5206625830385644</c:v>
                </c:pt>
                <c:pt idx="40">
                  <c:v>0.5190233802087827</c:v>
                </c:pt>
                <c:pt idx="41">
                  <c:v>0.5207713213407532</c:v>
                </c:pt>
                <c:pt idx="42">
                  <c:v>0.5214821844534553</c:v>
                </c:pt>
                <c:pt idx="43">
                  <c:v>0.5230351134500906</c:v>
                </c:pt>
                <c:pt idx="44">
                  <c:v>0.5207057199551376</c:v>
                </c:pt>
                <c:pt idx="45">
                  <c:v>0.5228194288672245</c:v>
                </c:pt>
                <c:pt idx="46">
                  <c:v>0.5227762919506513</c:v>
                </c:pt>
                <c:pt idx="47">
                  <c:v>0.5218272797860409</c:v>
                </c:pt>
                <c:pt idx="48">
                  <c:v>0.5212664998705893</c:v>
                </c:pt>
                <c:pt idx="49">
                  <c:v>0.5222380397739528</c:v>
                </c:pt>
                <c:pt idx="50">
                  <c:v>0.5218066519994824</c:v>
                </c:pt>
                <c:pt idx="51">
                  <c:v>0.5216115952031749</c:v>
                </c:pt>
                <c:pt idx="52">
                  <c:v>0.6750653306249456</c:v>
                </c:pt>
                <c:pt idx="53">
                  <c:v>1.004132605652942</c:v>
                </c:pt>
                <c:pt idx="54">
                  <c:v>0.4934409241035546</c:v>
                </c:pt>
              </c:numCache>
            </c:numRef>
          </c:xVal>
          <c:yVal>
            <c:numRef>
              <c:f>Sheet1!$B$126:$B$180</c:f>
              <c:numCache>
                <c:formatCode>General</c:formatCode>
                <c:ptCount val="55"/>
                <c:pt idx="0">
                  <c:v>0.13418657972639436</c:v>
                </c:pt>
                <c:pt idx="1">
                  <c:v>0.13509689139952819</c:v>
                </c:pt>
                <c:pt idx="2">
                  <c:v>0.1348167955001024</c:v>
                </c:pt>
                <c:pt idx="3">
                  <c:v>0.13474677152524595</c:v>
                </c:pt>
                <c:pt idx="4">
                  <c:v>0.1356067534664517</c:v>
                </c:pt>
                <c:pt idx="5">
                  <c:v>0.13477740701424565</c:v>
                </c:pt>
                <c:pt idx="6">
                  <c:v>0.13491745496395854</c:v>
                </c:pt>
                <c:pt idx="7">
                  <c:v>0.13503343217231453</c:v>
                </c:pt>
                <c:pt idx="8">
                  <c:v>0.13497216119431515</c:v>
                </c:pt>
                <c:pt idx="9">
                  <c:v>0.13498529068960075</c:v>
                </c:pt>
                <c:pt idx="10">
                  <c:v>0.13496901149743912</c:v>
                </c:pt>
                <c:pt idx="11">
                  <c:v>0.13500060843410058</c:v>
                </c:pt>
                <c:pt idx="12">
                  <c:v>0.13488244297653032</c:v>
                </c:pt>
                <c:pt idx="13">
                  <c:v>0.13478616001110272</c:v>
                </c:pt>
                <c:pt idx="14">
                  <c:v>0.13489338422260166</c:v>
                </c:pt>
                <c:pt idx="15">
                  <c:v>0.13490432546867295</c:v>
                </c:pt>
                <c:pt idx="16">
                  <c:v>0.13488681947495884</c:v>
                </c:pt>
                <c:pt idx="17">
                  <c:v>0.1349940436864578</c:v>
                </c:pt>
                <c:pt idx="18">
                  <c:v>0.13494590220374397</c:v>
                </c:pt>
                <c:pt idx="19">
                  <c:v>0.13493714920688693</c:v>
                </c:pt>
                <c:pt idx="20">
                  <c:v>0.134987478938815</c:v>
                </c:pt>
                <c:pt idx="21">
                  <c:v>0.1349984201848863</c:v>
                </c:pt>
                <c:pt idx="22">
                  <c:v>0.1345191936069625</c:v>
                </c:pt>
                <c:pt idx="23">
                  <c:v>0.1346276298938642</c:v>
                </c:pt>
                <c:pt idx="24">
                  <c:v>0.13464611206138982</c:v>
                </c:pt>
                <c:pt idx="25">
                  <c:v>0.13477740701424565</c:v>
                </c:pt>
                <c:pt idx="26">
                  <c:v>0.13279704147533672</c:v>
                </c:pt>
                <c:pt idx="27">
                  <c:v>0.1328714419486217</c:v>
                </c:pt>
                <c:pt idx="28">
                  <c:v>0.13296991316326356</c:v>
                </c:pt>
                <c:pt idx="29">
                  <c:v>0.13304431363654856</c:v>
                </c:pt>
                <c:pt idx="30">
                  <c:v>0.13309464336847662</c:v>
                </c:pt>
                <c:pt idx="31">
                  <c:v>0.13304431363654856</c:v>
                </c:pt>
                <c:pt idx="32">
                  <c:v>0.13313184360511912</c:v>
                </c:pt>
                <c:pt idx="33">
                  <c:v>0.13303889243107314</c:v>
                </c:pt>
                <c:pt idx="34">
                  <c:v>0.13311652586061928</c:v>
                </c:pt>
                <c:pt idx="35">
                  <c:v>0.13301367814754886</c:v>
                </c:pt>
                <c:pt idx="36">
                  <c:v>0.1329742896616921</c:v>
                </c:pt>
                <c:pt idx="37">
                  <c:v>0.13306400787947692</c:v>
                </c:pt>
                <c:pt idx="38">
                  <c:v>0.13292833642819257</c:v>
                </c:pt>
                <c:pt idx="39">
                  <c:v>0.13294146592347814</c:v>
                </c:pt>
                <c:pt idx="40">
                  <c:v>0.13285831245333612</c:v>
                </c:pt>
                <c:pt idx="41">
                  <c:v>0.1329469819993414</c:v>
                </c:pt>
                <c:pt idx="42">
                  <c:v>0.13298304265854916</c:v>
                </c:pt>
                <c:pt idx="43">
                  <c:v>0.13306181963026267</c:v>
                </c:pt>
                <c:pt idx="44">
                  <c:v>0.1329436541726924</c:v>
                </c:pt>
                <c:pt idx="45">
                  <c:v>0.13305087838419136</c:v>
                </c:pt>
                <c:pt idx="46">
                  <c:v>0.13304869013497708</c:v>
                </c:pt>
                <c:pt idx="47">
                  <c:v>0.13300054865226327</c:v>
                </c:pt>
                <c:pt idx="48">
                  <c:v>0.13297210141247784</c:v>
                </c:pt>
                <c:pt idx="49">
                  <c:v>0.13302138568217184</c:v>
                </c:pt>
                <c:pt idx="50">
                  <c:v>0.13299950224604526</c:v>
                </c:pt>
                <c:pt idx="51">
                  <c:v>0.13298960740619195</c:v>
                </c:pt>
                <c:pt idx="52">
                  <c:v>0.1407740074662362</c:v>
                </c:pt>
                <c:pt idx="53">
                  <c:v>0.15746692998419215</c:v>
                </c:pt>
                <c:pt idx="54">
                  <c:v>0.131560565791814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945709113561016"/>
          <c:min val="0.076243411370845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756</c:v>
                </c:pt>
                <c:pt idx="1">
                  <c:v>2.728</c:v>
                </c:pt>
                <c:pt idx="2">
                  <c:v>2.7312</c:v>
                </c:pt>
                <c:pt idx="3">
                  <c:v>2.7424</c:v>
                </c:pt>
                <c:pt idx="4">
                  <c:v>2.7356</c:v>
                </c:pt>
                <c:pt idx="5">
                  <c:v>2.7404</c:v>
                </c:pt>
                <c:pt idx="6">
                  <c:v>2.739</c:v>
                </c:pt>
                <c:pt idx="7">
                  <c:v>2.7386</c:v>
                </c:pt>
                <c:pt idx="8">
                  <c:v>2.7628</c:v>
                </c:pt>
                <c:pt idx="9">
                  <c:v>2.7513</c:v>
                </c:pt>
                <c:pt idx="10">
                  <c:v>2.7358</c:v>
                </c:pt>
                <c:pt idx="11">
                  <c:v>2.7561</c:v>
                </c:pt>
                <c:pt idx="12">
                  <c:v>2.7664</c:v>
                </c:pt>
                <c:pt idx="13">
                  <c:v>2.7545</c:v>
                </c:pt>
                <c:pt idx="14">
                  <c:v>2.7548</c:v>
                </c:pt>
                <c:pt idx="15">
                  <c:v>2.7535</c:v>
                </c:pt>
                <c:pt idx="16">
                  <c:v>2.7561</c:v>
                </c:pt>
                <c:pt idx="17">
                  <c:v>2.7593</c:v>
                </c:pt>
                <c:pt idx="18">
                  <c:v>2.7548</c:v>
                </c:pt>
                <c:pt idx="19">
                  <c:v>2.7551</c:v>
                </c:pt>
                <c:pt idx="20">
                  <c:v>2.7527</c:v>
                </c:pt>
                <c:pt idx="21">
                  <c:v>2.7554</c:v>
                </c:pt>
                <c:pt idx="22">
                  <c:v>2.7535</c:v>
                </c:pt>
                <c:pt idx="23">
                  <c:v>2.7539</c:v>
                </c:pt>
                <c:pt idx="24">
                  <c:v>2.7517</c:v>
                </c:pt>
                <c:pt idx="25">
                  <c:v>2.7522</c:v>
                </c:pt>
                <c:pt idx="26">
                  <c:v>2.7537</c:v>
                </c:pt>
                <c:pt idx="27">
                  <c:v>2.7612</c:v>
                </c:pt>
                <c:pt idx="28">
                  <c:v>2.7502</c:v>
                </c:pt>
                <c:pt idx="29">
                  <c:v>2.7527</c:v>
                </c:pt>
                <c:pt idx="30">
                  <c:v>2.7489</c:v>
                </c:pt>
                <c:pt idx="31">
                  <c:v>2.7547</c:v>
                </c:pt>
                <c:pt idx="32">
                  <c:v>2.754</c:v>
                </c:pt>
                <c:pt idx="33">
                  <c:v>2.7545</c:v>
                </c:pt>
                <c:pt idx="34">
                  <c:v>2.7544</c:v>
                </c:pt>
                <c:pt idx="35">
                  <c:v>2.7314</c:v>
                </c:pt>
                <c:pt idx="36">
                  <c:v>2.5004</c:v>
                </c:pt>
                <c:pt idx="37">
                  <c:v>2.5018</c:v>
                </c:pt>
                <c:pt idx="38">
                  <c:v>2.5768</c:v>
                </c:pt>
                <c:pt idx="39">
                  <c:v>2.7544</c:v>
                </c:pt>
                <c:pt idx="40">
                  <c:v>2.7517</c:v>
                </c:pt>
                <c:pt idx="41">
                  <c:v>2.7515</c:v>
                </c:pt>
                <c:pt idx="42">
                  <c:v>2.7528</c:v>
                </c:pt>
                <c:pt idx="43">
                  <c:v>2.7599</c:v>
                </c:pt>
              </c:numCache>
            </c:numRef>
          </c:xVal>
          <c:yVal>
            <c:numRef>
              <c:f>Sheet1!$B$2:$B$45</c:f>
              <c:numCache>
                <c:formatCode>General</c:formatCode>
                <c:ptCount val="4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pt idx="14">
                  <c:v>0.057572850401870185</c:v>
                </c:pt>
                <c:pt idx="15">
                  <c:v>0.056338675407381536</c:v>
                </c:pt>
                <c:pt idx="16">
                  <c:v>0.05630465870315221</c:v>
                </c:pt>
                <c:pt idx="17">
                  <c:v>0.049812661365279357</c:v>
                </c:pt>
                <c:pt idx="18">
                  <c:v>0.05861562035195975</c:v>
                </c:pt>
                <c:pt idx="19">
                  <c:v>0.0558006200260311</c:v>
                </c:pt>
                <c:pt idx="20">
                  <c:v>0.06609229484150034</c:v>
                </c:pt>
                <c:pt idx="21">
                  <c:v>0.05335900789967919</c:v>
                </c:pt>
                <c:pt idx="22">
                  <c:v>0.049816421368994626</c:v>
                </c:pt>
                <c:pt idx="23">
                  <c:v>0.053632186663470374</c:v>
                </c:pt>
                <c:pt idx="24">
                  <c:v>0.04960329838984244</c:v>
                </c:pt>
                <c:pt idx="25">
                  <c:v>0.05742476467081583</c:v>
                </c:pt>
                <c:pt idx="26">
                  <c:v>0.0478791868812661</c:v>
                </c:pt>
                <c:pt idx="27">
                  <c:v>0.061010188704603265</c:v>
                </c:pt>
                <c:pt idx="28">
                  <c:v>0.05149382024487228</c:v>
                </c:pt>
                <c:pt idx="29">
                  <c:v>0.05399825706842638</c:v>
                </c:pt>
                <c:pt idx="30">
                  <c:v>0.055580509701812726</c:v>
                </c:pt>
                <c:pt idx="31">
                  <c:v>0.05884877561700888</c:v>
                </c:pt>
                <c:pt idx="32">
                  <c:v>0.05863814023271748</c:v>
                </c:pt>
                <c:pt idx="33">
                  <c:v>0.042450568864485186</c:v>
                </c:pt>
                <c:pt idx="34">
                  <c:v>0.05058881021953254</c:v>
                </c:pt>
                <c:pt idx="35">
                  <c:v>0.060389334448544045</c:v>
                </c:pt>
                <c:pt idx="36">
                  <c:v>0.06833008977689702</c:v>
                </c:pt>
                <c:pt idx="37">
                  <c:v>0.04595635342547913</c:v>
                </c:pt>
                <c:pt idx="38">
                  <c:v>0.06154357286670051</c:v>
                </c:pt>
                <c:pt idx="39">
                  <c:v>0.0477779216718552</c:v>
                </c:pt>
                <c:pt idx="40">
                  <c:v>0.053430623335661856</c:v>
                </c:pt>
                <c:pt idx="41">
                  <c:v>0.04833532016707964</c:v>
                </c:pt>
                <c:pt idx="42">
                  <c:v>0.056232910038156315</c:v>
                </c:pt>
                <c:pt idx="43">
                  <c:v>0.05910060529249901</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numCache>
            </c:numRef>
          </c:xVal>
          <c:yVal>
            <c:numRef>
              <c:f>Sheet1!$B$48:$B$99</c:f>
              <c:numCache>
                <c:formatCode>General</c:formatCode>
                <c:ptCount val="52"/>
                <c:pt idx="0">
                  <c:v>0.055234075385208886</c:v>
                </c:pt>
                <c:pt idx="1">
                  <c:v>0.06654972484039293</c:v>
                </c:pt>
                <c:pt idx="2">
                  <c:v>0.059293829262355637</c:v>
                </c:pt>
                <c:pt idx="3">
                  <c:v>0.04675931151831366</c:v>
                </c:pt>
                <c:pt idx="4">
                  <c:v>0.06762909022684233</c:v>
                </c:pt>
                <c:pt idx="5">
                  <c:v>0.057812327892362216</c:v>
                </c:pt>
                <c:pt idx="6">
                  <c:v>0.05498129222562317</c:v>
                </c:pt>
                <c:pt idx="7">
                  <c:v>0.05153836130134507</c:v>
                </c:pt>
                <c:pt idx="8">
                  <c:v>0.053642759858496133</c:v>
                </c:pt>
                <c:pt idx="9">
                  <c:v>0.0769049478994267</c:v>
                </c:pt>
                <c:pt idx="10">
                  <c:v>0.06122713188165881</c:v>
                </c:pt>
                <c:pt idx="11">
                  <c:v>0.0565800517175177</c:v>
                </c:pt>
                <c:pt idx="12">
                  <c:v>0.05688256555673173</c:v>
                </c:pt>
                <c:pt idx="13">
                  <c:v>0.047406534634842276</c:v>
                </c:pt>
                <c:pt idx="14">
                  <c:v>0.05715811790766488</c:v>
                </c:pt>
                <c:pt idx="15">
                  <c:v>0.0634462860190862</c:v>
                </c:pt>
                <c:pt idx="16">
                  <c:v>0.05451299766010065</c:v>
                </c:pt>
                <c:pt idx="17">
                  <c:v>0.06955707169309898</c:v>
                </c:pt>
                <c:pt idx="18">
                  <c:v>0.052698064622372295</c:v>
                </c:pt>
                <c:pt idx="19">
                  <c:v>0.056430349718169875</c:v>
                </c:pt>
                <c:pt idx="20">
                  <c:v>0.04894151269394723</c:v>
                </c:pt>
                <c:pt idx="21">
                  <c:v>0.05155833285734999</c:v>
                </c:pt>
                <c:pt idx="22">
                  <c:v>0.0745768691673905</c:v>
                </c:pt>
                <c:pt idx="23">
                  <c:v>0.05851764622685744</c:v>
                </c:pt>
                <c:pt idx="24">
                  <c:v>0.06721224324974745</c:v>
                </c:pt>
                <c:pt idx="25">
                  <c:v>0.0685390120460053</c:v>
                </c:pt>
                <c:pt idx="26">
                  <c:v>0.060285593512683595</c:v>
                </c:pt>
                <c:pt idx="27">
                  <c:v>0.0565956324119252</c:v>
                </c:pt>
                <c:pt idx="28">
                  <c:v>0.040008014308472686</c:v>
                </c:pt>
                <c:pt idx="29">
                  <c:v>0.06533634493965179</c:v>
                </c:pt>
                <c:pt idx="30">
                  <c:v>0.0515726786030211</c:v>
                </c:pt>
                <c:pt idx="31">
                  <c:v>0.05675351676811864</c:v>
                </c:pt>
                <c:pt idx="32">
                  <c:v>0.06476613857917965</c:v>
                </c:pt>
                <c:pt idx="33">
                  <c:v>0.05339862821303569</c:v>
                </c:pt>
                <c:pt idx="34">
                  <c:v>0.05354227268462044</c:v>
                </c:pt>
                <c:pt idx="35">
                  <c:v>0.049819410635811114</c:v>
                </c:pt>
                <c:pt idx="36">
                  <c:v>0.06880576330201779</c:v>
                </c:pt>
                <c:pt idx="37">
                  <c:v>0.03693554868980487</c:v>
                </c:pt>
                <c:pt idx="38">
                  <c:v>0.0851160296441133</c:v>
                </c:pt>
                <c:pt idx="39">
                  <c:v>0.06672036499521031</c:v>
                </c:pt>
                <c:pt idx="40">
                  <c:v>0.05400812968943301</c:v>
                </c:pt>
                <c:pt idx="41">
                  <c:v>0.057332063797009</c:v>
                </c:pt>
                <c:pt idx="42">
                  <c:v>0.054202770183867106</c:v>
                </c:pt>
                <c:pt idx="43">
                  <c:v>0.04628557057434677</c:v>
                </c:pt>
                <c:pt idx="44">
                  <c:v>0.06596169571287916</c:v>
                </c:pt>
                <c:pt idx="45">
                  <c:v>0.07636134726578216</c:v>
                </c:pt>
                <c:pt idx="46">
                  <c:v>0.07181794170410624</c:v>
                </c:pt>
                <c:pt idx="47">
                  <c:v>0.06681629348529416</c:v>
                </c:pt>
                <c:pt idx="48">
                  <c:v>0.05472030149501995</c:v>
                </c:pt>
                <c:pt idx="49">
                  <c:v>0.0538930960958753</c:v>
                </c:pt>
                <c:pt idx="50">
                  <c:v>0.048809690618746765</c:v>
                </c:pt>
                <c:pt idx="51">
                  <c:v>0.0563810809287389</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50919274009951</c:v>
                </c:pt>
              </c:numCache>
            </c:numRef>
          </c:xVal>
          <c:yVal>
            <c:numRef>
              <c:f>Sheet1!$B$102:$B$103</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50919274009951</c:v>
                </c:pt>
                <c:pt idx="1">
                  <c:v>2.550919274009951</c:v>
                </c:pt>
              </c:numCache>
            </c:numRef>
          </c:xVal>
          <c:yVal>
            <c:numRef>
              <c:f>Sheet1!$B$106:$B$107</c:f>
              <c:numCache>
                <c:formatCode>General</c:formatCode>
                <c:ptCount val="2"/>
                <c:pt idx="0">
                  <c:v>0.0594854112727929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550919274009951</c:v>
                </c:pt>
              </c:numCache>
            </c:numRef>
          </c:xVal>
          <c:yVal>
            <c:numRef>
              <c:f>Sheet1!$B$110:$B$111</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550919274009951</c:v>
                </c:pt>
                <c:pt idx="1">
                  <c:v>2.550919274009951</c:v>
                </c:pt>
              </c:numCache>
            </c:numRef>
          </c:xVal>
          <c:yVal>
            <c:numRef>
              <c:f>Sheet1!$B$114:$B$115</c:f>
              <c:numCache>
                <c:formatCode>General</c:formatCode>
                <c:ptCount val="2"/>
                <c:pt idx="0">
                  <c:v>0.0594854112727929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5509192740099507</c:v>
                </c:pt>
              </c:numCache>
            </c:numRef>
          </c:xVal>
          <c:yVal>
            <c:numRef>
              <c:f>Sheet1!$B$118:$B$119</c:f>
              <c:numCache>
                <c:formatCode>General</c:formatCode>
                <c:ptCount val="2"/>
                <c:pt idx="0">
                  <c:v>0.05948541127279299</c:v>
                </c:pt>
                <c:pt idx="1">
                  <c:v>0.05948541127279299</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5509192740099507</c:v>
                </c:pt>
                <c:pt idx="1">
                  <c:v>2.5509192740099507</c:v>
                </c:pt>
              </c:numCache>
            </c:numRef>
          </c:xVal>
          <c:yVal>
            <c:numRef>
              <c:f>Sheet1!$B$122:$B$123</c:f>
              <c:numCache>
                <c:formatCode>General</c:formatCode>
                <c:ptCount val="2"/>
                <c:pt idx="0">
                  <c:v>0.059485411272792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pt idx="52">
                  <c:v>2.550919274009951</c:v>
                </c:pt>
                <c:pt idx="53">
                  <c:v>2.550919274009951</c:v>
                </c:pt>
                <c:pt idx="54">
                  <c:v>2.5509192740099507</c:v>
                </c:pt>
              </c:numCache>
            </c:numRef>
          </c:xVal>
          <c:yVal>
            <c:numRef>
              <c:f>Sheet1!$B$126:$B$180</c:f>
              <c:numCache>
                <c:formatCode>General</c:formatCode>
                <c:ptCount val="55"/>
                <c:pt idx="0">
                  <c:v>0.05510629834808513</c:v>
                </c:pt>
                <c:pt idx="1">
                  <c:v>0.05414298684947927</c:v>
                </c:pt>
                <c:pt idx="2">
                  <c:v>0.05408340057121498</c:v>
                </c:pt>
                <c:pt idx="3">
                  <c:v>0.05399898667700724</c:v>
                </c:pt>
                <c:pt idx="4">
                  <c:v>0.05415540065745099</c:v>
                </c:pt>
                <c:pt idx="5">
                  <c:v>0.05390712449801649</c:v>
                </c:pt>
                <c:pt idx="6">
                  <c:v>0.05426960769079085</c:v>
                </c:pt>
                <c:pt idx="7">
                  <c:v>0.054247262836441754</c:v>
                </c:pt>
                <c:pt idx="8">
                  <c:v>0.05947595875413236</c:v>
                </c:pt>
                <c:pt idx="9">
                  <c:v>0.06593858718421246</c:v>
                </c:pt>
                <c:pt idx="10">
                  <c:v>0.06619431162843</c:v>
                </c:pt>
                <c:pt idx="11">
                  <c:v>0.06005444220561475</c:v>
                </c:pt>
                <c:pt idx="12">
                  <c:v>0.05396422801468642</c:v>
                </c:pt>
                <c:pt idx="13">
                  <c:v>0.0541007799023754</c:v>
                </c:pt>
                <c:pt idx="14">
                  <c:v>0.060183545808520686</c:v>
                </c:pt>
                <c:pt idx="15">
                  <c:v>0.06598575965450501</c:v>
                </c:pt>
                <c:pt idx="16">
                  <c:v>0.06609003564146751</c:v>
                </c:pt>
                <c:pt idx="17">
                  <c:v>0.06232120354125176</c:v>
                </c:pt>
                <c:pt idx="18">
                  <c:v>0.05404615914729981</c:v>
                </c:pt>
                <c:pt idx="19">
                  <c:v>0.054011400484978975</c:v>
                </c:pt>
                <c:pt idx="20">
                  <c:v>0.05422491798209264</c:v>
                </c:pt>
                <c:pt idx="21">
                  <c:v>0.053946848683526005</c:v>
                </c:pt>
                <c:pt idx="22">
                  <c:v>0.05453526318138577</c:v>
                </c:pt>
                <c:pt idx="23">
                  <c:v>0.06131816785713637</c:v>
                </c:pt>
                <c:pt idx="24">
                  <c:v>0.06611486325741095</c:v>
                </c:pt>
                <c:pt idx="25">
                  <c:v>0.06609996668784487</c:v>
                </c:pt>
                <c:pt idx="26">
                  <c:v>0.06328948056304631</c:v>
                </c:pt>
                <c:pt idx="27">
                  <c:v>0.05708754210037245</c:v>
                </c:pt>
                <c:pt idx="28">
                  <c:v>0.05721416294168405</c:v>
                </c:pt>
                <c:pt idx="29">
                  <c:v>0.05608202365466272</c:v>
                </c:pt>
                <c:pt idx="30">
                  <c:v>0.056116782316983554</c:v>
                </c:pt>
                <c:pt idx="31">
                  <c:v>0.05622354106554038</c:v>
                </c:pt>
                <c:pt idx="32">
                  <c:v>0.05591816138943595</c:v>
                </c:pt>
                <c:pt idx="33">
                  <c:v>0.056149058217710046</c:v>
                </c:pt>
                <c:pt idx="34">
                  <c:v>0.056010023568426714</c:v>
                </c:pt>
                <c:pt idx="35">
                  <c:v>0.05616147202568175</c:v>
                </c:pt>
                <c:pt idx="36">
                  <c:v>0.05628064458221031</c:v>
                </c:pt>
                <c:pt idx="37">
                  <c:v>0.05585112682638864</c:v>
                </c:pt>
                <c:pt idx="38">
                  <c:v>0.0638729295377174</c:v>
                </c:pt>
                <c:pt idx="39">
                  <c:v>0.06754245117415933</c:v>
                </c:pt>
                <c:pt idx="40">
                  <c:v>0.0678825895125846</c:v>
                </c:pt>
                <c:pt idx="41">
                  <c:v>0.0626439625485166</c:v>
                </c:pt>
                <c:pt idx="42">
                  <c:v>0.05613664440973831</c:v>
                </c:pt>
                <c:pt idx="43">
                  <c:v>0.05569223008435055</c:v>
                </c:pt>
                <c:pt idx="44">
                  <c:v>0.06212754813689284</c:v>
                </c:pt>
                <c:pt idx="45">
                  <c:v>0.06777086524083908</c:v>
                </c:pt>
                <c:pt idx="46">
                  <c:v>0.06777583076402777</c:v>
                </c:pt>
                <c:pt idx="47">
                  <c:v>0.06146713355279707</c:v>
                </c:pt>
                <c:pt idx="48">
                  <c:v>0.05608202365466272</c:v>
                </c:pt>
                <c:pt idx="49">
                  <c:v>0.05586850615754904</c:v>
                </c:pt>
                <c:pt idx="50">
                  <c:v>0.05601747185320975</c:v>
                </c:pt>
                <c:pt idx="51">
                  <c:v>0.056054713277124926</c:v>
                </c:pt>
                <c:pt idx="52">
                  <c:v>0.059485411272792985</c:v>
                </c:pt>
                <c:pt idx="53">
                  <c:v>0.059485411272792985</c:v>
                </c:pt>
                <c:pt idx="54">
                  <c:v>0.0594854112727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213923557293596"/>
          <c:min val="0.02954843895184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pt idx="14">
                  <c:v>0.1518651964125978</c:v>
                </c:pt>
                <c:pt idx="15">
                  <c:v>0.1504013448624766</c:v>
                </c:pt>
                <c:pt idx="16">
                  <c:v>0.14288748305163024</c:v>
                </c:pt>
                <c:pt idx="17">
                  <c:v>0.14797397500774553</c:v>
                </c:pt>
                <c:pt idx="18">
                  <c:v>0.15252222853717481</c:v>
                </c:pt>
                <c:pt idx="19">
                  <c:v>0.16283995696512849</c:v>
                </c:pt>
                <c:pt idx="20">
                  <c:v>0.15315737240602595</c:v>
                </c:pt>
                <c:pt idx="21">
                  <c:v>0.1523951154990098</c:v>
                </c:pt>
                <c:pt idx="22">
                  <c:v>0.14583372795635785</c:v>
                </c:pt>
                <c:pt idx="23">
                  <c:v>0.15323664549123017</c:v>
                </c:pt>
                <c:pt idx="24">
                  <c:v>0.1670193101260069</c:v>
                </c:pt>
                <c:pt idx="25">
                  <c:v>0.1609670903863616</c:v>
                </c:pt>
                <c:pt idx="26">
                  <c:v>0.14148247968038966</c:v>
                </c:pt>
                <c:pt idx="27">
                  <c:v>0.14781384276598883</c:v>
                </c:pt>
                <c:pt idx="28">
                  <c:v>0.1565551762865177</c:v>
                </c:pt>
                <c:pt idx="29">
                  <c:v>0.15108824484305072</c:v>
                </c:pt>
                <c:pt idx="30">
                  <c:v>0.1502032784717426</c:v>
                </c:pt>
                <c:pt idx="31">
                  <c:v>0.15099884163712368</c:v>
                </c:pt>
                <c:pt idx="32">
                  <c:v>0.1469827647398572</c:v>
                </c:pt>
                <c:pt idx="33">
                  <c:v>0.139377284384369</c:v>
                </c:pt>
                <c:pt idx="34">
                  <c:v>0.14250558426953452</c:v>
                </c:pt>
                <c:pt idx="35">
                  <c:v>0.14703648492779237</c:v>
                </c:pt>
                <c:pt idx="36">
                  <c:v>0.13678848578048583</c:v>
                </c:pt>
                <c:pt idx="37">
                  <c:v>0.1643596139690848</c:v>
                </c:pt>
                <c:pt idx="38">
                  <c:v>0.14875347208359238</c:v>
                </c:pt>
                <c:pt idx="39">
                  <c:v>0.1495564286189579</c:v>
                </c:pt>
                <c:pt idx="40">
                  <c:v>0.15433793580739952</c:v>
                </c:pt>
                <c:pt idx="41">
                  <c:v>0.1451561330731467</c:v>
                </c:pt>
                <c:pt idx="42">
                  <c:v>0.16362260242595655</c:v>
                </c:pt>
                <c:pt idx="43">
                  <c:v>0.1587977376947785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14233729951614082</c:v>
                </c:pt>
                <c:pt idx="1">
                  <c:v>0.13547050158539933</c:v>
                </c:pt>
                <c:pt idx="2">
                  <c:v>0.1690771295941739</c:v>
                </c:pt>
                <c:pt idx="3">
                  <c:v>0.18288090927967512</c:v>
                </c:pt>
                <c:pt idx="4">
                  <c:v>0.0953042642135566</c:v>
                </c:pt>
                <c:pt idx="5">
                  <c:v>0.1509543717229806</c:v>
                </c:pt>
                <c:pt idx="6">
                  <c:v>0.14486832783059278</c:v>
                </c:pt>
                <c:pt idx="7">
                  <c:v>0.13731304385596593</c:v>
                </c:pt>
                <c:pt idx="8">
                  <c:v>0.13133216471212442</c:v>
                </c:pt>
                <c:pt idx="9">
                  <c:v>0.13166748315172058</c:v>
                </c:pt>
                <c:pt idx="10">
                  <c:v>0.13313595653465768</c:v>
                </c:pt>
                <c:pt idx="11">
                  <c:v>0.1346395234648698</c:v>
                </c:pt>
                <c:pt idx="12">
                  <c:v>0.14108112159921313</c:v>
                </c:pt>
                <c:pt idx="13">
                  <c:v>0.13562658925279167</c:v>
                </c:pt>
                <c:pt idx="14">
                  <c:v>0.12882416743399602</c:v>
                </c:pt>
                <c:pt idx="15">
                  <c:v>0.128530228845749</c:v>
                </c:pt>
                <c:pt idx="16">
                  <c:v>0.13573635325822972</c:v>
                </c:pt>
                <c:pt idx="17">
                  <c:v>0.1286958198614644</c:v>
                </c:pt>
                <c:pt idx="18">
                  <c:v>0.13788254866593994</c:v>
                </c:pt>
                <c:pt idx="19">
                  <c:v>0.13982859752227003</c:v>
                </c:pt>
                <c:pt idx="20">
                  <c:v>0.13162134218182692</c:v>
                </c:pt>
                <c:pt idx="21">
                  <c:v>0.12438817833118775</c:v>
                </c:pt>
                <c:pt idx="22">
                  <c:v>0.12007833377114856</c:v>
                </c:pt>
                <c:pt idx="23">
                  <c:v>0.13386135447877642</c:v>
                </c:pt>
                <c:pt idx="24">
                  <c:v>0.1298234784654061</c:v>
                </c:pt>
                <c:pt idx="25">
                  <c:v>0.12184025816255198</c:v>
                </c:pt>
                <c:pt idx="26">
                  <c:v>0.13869505434439333</c:v>
                </c:pt>
                <c:pt idx="27">
                  <c:v>0.1287914157758163</c:v>
                </c:pt>
                <c:pt idx="28">
                  <c:v>0.13421523305022626</c:v>
                </c:pt>
                <c:pt idx="29">
                  <c:v>0.12093829243146388</c:v>
                </c:pt>
                <c:pt idx="30">
                  <c:v>0.1361533309147633</c:v>
                </c:pt>
                <c:pt idx="31">
                  <c:v>0.12895091847587686</c:v>
                </c:pt>
                <c:pt idx="32">
                  <c:v>0.1482863061293544</c:v>
                </c:pt>
                <c:pt idx="33">
                  <c:v>0.13859729952663688</c:v>
                </c:pt>
                <c:pt idx="34">
                  <c:v>0.1279770679274867</c:v>
                </c:pt>
                <c:pt idx="35">
                  <c:v>0.12487130937597807</c:v>
                </c:pt>
                <c:pt idx="36">
                  <c:v>0.13392643176296584</c:v>
                </c:pt>
                <c:pt idx="37">
                  <c:v>0.14214919611843335</c:v>
                </c:pt>
                <c:pt idx="38">
                  <c:v>0.12416430011391881</c:v>
                </c:pt>
                <c:pt idx="39">
                  <c:v>0.12558562342321092</c:v>
                </c:pt>
                <c:pt idx="40">
                  <c:v>0.13469320865667325</c:v>
                </c:pt>
                <c:pt idx="41">
                  <c:v>0.12273705852365846</c:v>
                </c:pt>
                <c:pt idx="42">
                  <c:v>0.1274525009452161</c:v>
                </c:pt>
                <c:pt idx="43">
                  <c:v>0.14054360433472093</c:v>
                </c:pt>
                <c:pt idx="44">
                  <c:v>0.1326310818887486</c:v>
                </c:pt>
                <c:pt idx="45">
                  <c:v>0.12613216511123945</c:v>
                </c:pt>
                <c:pt idx="46">
                  <c:v>0.12972091612316092</c:v>
                </c:pt>
                <c:pt idx="47">
                  <c:v>0.123147248002284</c:v>
                </c:pt>
                <c:pt idx="48">
                  <c:v>0.1368328960637704</c:v>
                </c:pt>
                <c:pt idx="49">
                  <c:v>0.13202031081704876</c:v>
                </c:pt>
                <c:pt idx="50">
                  <c:v>0.1423553657204123</c:v>
                </c:pt>
                <c:pt idx="51">
                  <c:v>0.13643537568344513</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3278476268654167</c:v>
                </c:pt>
              </c:numCache>
            </c:numRef>
          </c:xVal>
          <c:yVal>
            <c:numRef>
              <c:f>Sheet1!$B$102:$B$103</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3278476268654167</c:v>
                </c:pt>
                <c:pt idx="1">
                  <c:v>2.3278476268654167</c:v>
                </c:pt>
              </c:numCache>
            </c:numRef>
          </c:xVal>
          <c:yVal>
            <c:numRef>
              <c:f>Sheet1!$B$106:$B$107</c:f>
              <c:numCache>
                <c:formatCode>General</c:formatCode>
                <c:ptCount val="2"/>
                <c:pt idx="0">
                  <c:v>0.157466929984192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5649516678244895</c:v>
                </c:pt>
              </c:numCache>
            </c:numRef>
          </c:xVal>
          <c:yVal>
            <c:numRef>
              <c:f>Sheet1!$B$110:$B$111</c:f>
              <c:numCache>
                <c:formatCode>General</c:formatCode>
                <c:ptCount val="2"/>
                <c:pt idx="0">
                  <c:v>0.1407740074662362</c:v>
                </c:pt>
                <c:pt idx="1">
                  <c:v>0.1407740074662362</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5649516678244895</c:v>
                </c:pt>
                <c:pt idx="1">
                  <c:v>1.5649516678244895</c:v>
                </c:pt>
              </c:numCache>
            </c:numRef>
          </c:xVal>
          <c:yVal>
            <c:numRef>
              <c:f>Sheet1!$B$114:$B$115</c:f>
              <c:numCache>
                <c:formatCode>General</c:formatCode>
                <c:ptCount val="2"/>
                <c:pt idx="0">
                  <c:v>0.1407740074662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438811563718168</c:v>
                </c:pt>
              </c:numCache>
            </c:numRef>
          </c:xVal>
          <c:yVal>
            <c:numRef>
              <c:f>Sheet1!$B$118:$B$119</c:f>
              <c:numCache>
                <c:formatCode>General</c:formatCode>
                <c:ptCount val="2"/>
                <c:pt idx="0">
                  <c:v>0.13156056579181455</c:v>
                </c:pt>
                <c:pt idx="1">
                  <c:v>0.13156056579181455</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438811563718168</c:v>
                </c:pt>
                <c:pt idx="1">
                  <c:v>1.1438811563718168</c:v>
                </c:pt>
              </c:numCache>
            </c:numRef>
          </c:xVal>
          <c:yVal>
            <c:numRef>
              <c:f>Sheet1!$B$122:$B$123</c:f>
              <c:numCache>
                <c:formatCode>General</c:formatCode>
                <c:ptCount val="2"/>
                <c:pt idx="0">
                  <c:v>0.131560565791814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5649516678244895</c:v>
                </c:pt>
                <c:pt idx="53">
                  <c:v>2.3278476268654167</c:v>
                </c:pt>
                <c:pt idx="54">
                  <c:v>1.1438811563718168</c:v>
                </c:pt>
              </c:numCache>
            </c:numRef>
          </c:xVal>
          <c:yVal>
            <c:numRef>
              <c:f>Sheet1!$B$126:$B$180</c:f>
              <c:numCache>
                <c:formatCode>General</c:formatCode>
                <c:ptCount val="55"/>
                <c:pt idx="0">
                  <c:v>0.13418669748596926</c:v>
                </c:pt>
                <c:pt idx="1">
                  <c:v>0.135096946869935</c:v>
                </c:pt>
                <c:pt idx="2">
                  <c:v>0.13481687013640709</c:v>
                </c:pt>
                <c:pt idx="3">
                  <c:v>0.1347468509530251</c:v>
                </c:pt>
                <c:pt idx="4">
                  <c:v>0.13560677404893506</c:v>
                </c:pt>
                <c:pt idx="5">
                  <c:v>0.13477748434575473</c:v>
                </c:pt>
                <c:pt idx="6">
                  <c:v>0.1349175227125187</c:v>
                </c:pt>
                <c:pt idx="7">
                  <c:v>0.1350334919849951</c:v>
                </c:pt>
                <c:pt idx="8">
                  <c:v>0.13497222519953586</c:v>
                </c:pt>
                <c:pt idx="9">
                  <c:v>0.13498535379642</c:v>
                </c:pt>
                <c:pt idx="10">
                  <c:v>0.13496784900057449</c:v>
                </c:pt>
                <c:pt idx="11">
                  <c:v>0.1350006704927848</c:v>
                </c:pt>
                <c:pt idx="12">
                  <c:v>0.1348825131208277</c:v>
                </c:pt>
                <c:pt idx="13">
                  <c:v>0.13478623674367746</c:v>
                </c:pt>
                <c:pt idx="14">
                  <c:v>0.13489345361823113</c:v>
                </c:pt>
                <c:pt idx="15">
                  <c:v>0.13490439411563457</c:v>
                </c:pt>
                <c:pt idx="16">
                  <c:v>0.13488688931978907</c:v>
                </c:pt>
                <c:pt idx="17">
                  <c:v>0.13499410619434274</c:v>
                </c:pt>
                <c:pt idx="18">
                  <c:v>0.1349459680057676</c:v>
                </c:pt>
                <c:pt idx="19">
                  <c:v>0.13493721560784488</c:v>
                </c:pt>
                <c:pt idx="20">
                  <c:v>0.13498754189590068</c:v>
                </c:pt>
                <c:pt idx="21">
                  <c:v>0.13499848239330411</c:v>
                </c:pt>
                <c:pt idx="22">
                  <c:v>0.13451928860703366</c:v>
                </c:pt>
                <c:pt idx="23">
                  <c:v>0.13462650548158733</c:v>
                </c:pt>
                <c:pt idx="24">
                  <c:v>0.1346461983769135</c:v>
                </c:pt>
                <c:pt idx="25">
                  <c:v>0.13477748434575473</c:v>
                </c:pt>
                <c:pt idx="26">
                  <c:v>0.13279725431573308</c:v>
                </c:pt>
                <c:pt idx="27">
                  <c:v>0.13287164969807644</c:v>
                </c:pt>
                <c:pt idx="28">
                  <c:v>0.13297011417470733</c:v>
                </c:pt>
                <c:pt idx="29">
                  <c:v>0.1330445095570507</c:v>
                </c:pt>
                <c:pt idx="30">
                  <c:v>0.1330948358451065</c:v>
                </c:pt>
                <c:pt idx="31">
                  <c:v>0.1330445095570507</c:v>
                </c:pt>
                <c:pt idx="32">
                  <c:v>0.13313203353627817</c:v>
                </c:pt>
                <c:pt idx="33">
                  <c:v>0.13303794525860863</c:v>
                </c:pt>
                <c:pt idx="34">
                  <c:v>0.13311671683991336</c:v>
                </c:pt>
                <c:pt idx="35">
                  <c:v>0.1330138761643211</c:v>
                </c:pt>
                <c:pt idx="36">
                  <c:v>0.1329744903736687</c:v>
                </c:pt>
                <c:pt idx="37">
                  <c:v>0.13306420245237688</c:v>
                </c:pt>
                <c:pt idx="38">
                  <c:v>0.1329285402845743</c:v>
                </c:pt>
                <c:pt idx="39">
                  <c:v>0.13294166888145842</c:v>
                </c:pt>
                <c:pt idx="40">
                  <c:v>0.1328585211011923</c:v>
                </c:pt>
                <c:pt idx="41">
                  <c:v>0.1329460450804198</c:v>
                </c:pt>
                <c:pt idx="42">
                  <c:v>0.13298324277159146</c:v>
                </c:pt>
                <c:pt idx="43">
                  <c:v>0.1330620143528962</c:v>
                </c:pt>
                <c:pt idx="44">
                  <c:v>0.1329438569809391</c:v>
                </c:pt>
                <c:pt idx="45">
                  <c:v>0.13305107385549275</c:v>
                </c:pt>
                <c:pt idx="46">
                  <c:v>0.13304888575601206</c:v>
                </c:pt>
                <c:pt idx="47">
                  <c:v>0.13300074756743696</c:v>
                </c:pt>
                <c:pt idx="48">
                  <c:v>0.13297230227418802</c:v>
                </c:pt>
                <c:pt idx="49">
                  <c:v>0.13302044046276312</c:v>
                </c:pt>
                <c:pt idx="50">
                  <c:v>0.13299855946795627</c:v>
                </c:pt>
                <c:pt idx="51">
                  <c:v>0.13298980707003352</c:v>
                </c:pt>
                <c:pt idx="52">
                  <c:v>0.1407740074662362</c:v>
                </c:pt>
                <c:pt idx="53">
                  <c:v>0.15746692998419215</c:v>
                </c:pt>
                <c:pt idx="54">
                  <c:v>0.13156056579181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945709113561016"/>
          <c:min val="0.076243411370845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20929327521793273</c:v>
                </c:pt>
                <c:pt idx="1">
                  <c:v>0.20979510828322923</c:v>
                </c:pt>
                <c:pt idx="2">
                  <c:v>0.21004495125415945</c:v>
                </c:pt>
                <c:pt idx="3">
                  <c:v>0.20994668638362454</c:v>
                </c:pt>
                <c:pt idx="4">
                  <c:v>0.21043105964775713</c:v>
                </c:pt>
                <c:pt idx="5">
                  <c:v>0.21025800677121842</c:v>
                </c:pt>
                <c:pt idx="6">
                  <c:v>0.21041978864605024</c:v>
                </c:pt>
                <c:pt idx="7">
                  <c:v>0.2103327495621716</c:v>
                </c:pt>
                <c:pt idx="8">
                  <c:v>0.22623773937412425</c:v>
                </c:pt>
                <c:pt idx="9">
                  <c:v>0.2463029265255293</c:v>
                </c:pt>
                <c:pt idx="10">
                  <c:v>0.24711033274956218</c:v>
                </c:pt>
                <c:pt idx="11">
                  <c:v>0.2470668352952622</c:v>
                </c:pt>
                <c:pt idx="12">
                  <c:v>0.24700823101321245</c:v>
                </c:pt>
                <c:pt idx="13">
                  <c:v>0.24743592238678164</c:v>
                </c:pt>
                <c:pt idx="14">
                  <c:v>0.2471302385306821</c:v>
                </c:pt>
                <c:pt idx="15">
                  <c:v>0.24720259987934692</c:v>
                </c:pt>
                <c:pt idx="16">
                  <c:v>0.2474505682702787</c:v>
                </c:pt>
                <c:pt idx="17">
                  <c:v>0.24725135729436262</c:v>
                </c:pt>
                <c:pt idx="18">
                  <c:v>0.24732417389950567</c:v>
                </c:pt>
                <c:pt idx="19">
                  <c:v>0.24734886073978946</c:v>
                </c:pt>
                <c:pt idx="20">
                  <c:v>0.24730471334604753</c:v>
                </c:pt>
                <c:pt idx="21">
                  <c:v>0.247329610677666</c:v>
                </c:pt>
                <c:pt idx="22">
                  <c:v>0.2491048493811785</c:v>
                </c:pt>
                <c:pt idx="23">
                  <c:v>0.2516004747913059</c:v>
                </c:pt>
                <c:pt idx="24">
                  <c:v>0.25087562266500624</c:v>
                </c:pt>
                <c:pt idx="25">
                  <c:v>0.2519116645588092</c:v>
                </c:pt>
                <c:pt idx="26">
                  <c:v>0.25177084144158174</c:v>
                </c:pt>
                <c:pt idx="27">
                  <c:v>0.25164428877213463</c:v>
                </c:pt>
                <c:pt idx="28">
                  <c:v>0.2515325484090688</c:v>
                </c:pt>
                <c:pt idx="29">
                  <c:v>0.2513671836988888</c:v>
                </c:pt>
                <c:pt idx="30">
                  <c:v>0.25116270018875636</c:v>
                </c:pt>
                <c:pt idx="31">
                  <c:v>0.2515954548992139</c:v>
                </c:pt>
                <c:pt idx="32">
                  <c:v>0.25150819289300586</c:v>
                </c:pt>
                <c:pt idx="33">
                  <c:v>0.2513233691421454</c:v>
                </c:pt>
                <c:pt idx="34">
                  <c:v>0.2512892365773444</c:v>
                </c:pt>
                <c:pt idx="35">
                  <c:v>0.2514303506791733</c:v>
                </c:pt>
                <c:pt idx="36">
                  <c:v>0.25136229176397323</c:v>
                </c:pt>
                <c:pt idx="37">
                  <c:v>0.25144503045754435</c:v>
                </c:pt>
                <c:pt idx="38">
                  <c:v>0.2514936265447115</c:v>
                </c:pt>
                <c:pt idx="39">
                  <c:v>0.2511382651671401</c:v>
                </c:pt>
                <c:pt idx="40">
                  <c:v>0.2511919357035826</c:v>
                </c:pt>
                <c:pt idx="41">
                  <c:v>0.25152729678197594</c:v>
                </c:pt>
                <c:pt idx="42">
                  <c:v>0.2517464827103077</c:v>
                </c:pt>
                <c:pt idx="43">
                  <c:v>0.25232026461718066</c:v>
                </c:pt>
              </c:numCache>
            </c:numRef>
          </c:xVal>
          <c:yVal>
            <c:numRef>
              <c:f>Sheet1!$B$2:$B$45</c:f>
              <c:numCache>
                <c:formatCode>General</c:formatCode>
                <c:ptCount val="4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pt idx="14">
                  <c:v>0.1518651964125978</c:v>
                </c:pt>
                <c:pt idx="15">
                  <c:v>0.1504013448624766</c:v>
                </c:pt>
                <c:pt idx="16">
                  <c:v>0.14288748305163024</c:v>
                </c:pt>
                <c:pt idx="17">
                  <c:v>0.14797397500774553</c:v>
                </c:pt>
                <c:pt idx="18">
                  <c:v>0.15252222853717481</c:v>
                </c:pt>
                <c:pt idx="19">
                  <c:v>0.16283995696512849</c:v>
                </c:pt>
                <c:pt idx="20">
                  <c:v>0.15315737240602595</c:v>
                </c:pt>
                <c:pt idx="21">
                  <c:v>0.1523951154990098</c:v>
                </c:pt>
                <c:pt idx="22">
                  <c:v>0.14583372795635785</c:v>
                </c:pt>
                <c:pt idx="23">
                  <c:v>0.15323664549123017</c:v>
                </c:pt>
                <c:pt idx="24">
                  <c:v>0.1670193101260069</c:v>
                </c:pt>
                <c:pt idx="25">
                  <c:v>0.1609670903863616</c:v>
                </c:pt>
                <c:pt idx="26">
                  <c:v>0.14148247968038966</c:v>
                </c:pt>
                <c:pt idx="27">
                  <c:v>0.14781384276598883</c:v>
                </c:pt>
                <c:pt idx="28">
                  <c:v>0.1565551762865177</c:v>
                </c:pt>
                <c:pt idx="29">
                  <c:v>0.15108824484305072</c:v>
                </c:pt>
                <c:pt idx="30">
                  <c:v>0.1502032784717426</c:v>
                </c:pt>
                <c:pt idx="31">
                  <c:v>0.15099884163712368</c:v>
                </c:pt>
                <c:pt idx="32">
                  <c:v>0.1469827647398572</c:v>
                </c:pt>
                <c:pt idx="33">
                  <c:v>0.139377284384369</c:v>
                </c:pt>
                <c:pt idx="34">
                  <c:v>0.14250558426953452</c:v>
                </c:pt>
                <c:pt idx="35">
                  <c:v>0.14703648492779237</c:v>
                </c:pt>
                <c:pt idx="36">
                  <c:v>0.13678848578048583</c:v>
                </c:pt>
                <c:pt idx="37">
                  <c:v>0.1643596139690848</c:v>
                </c:pt>
                <c:pt idx="38">
                  <c:v>0.14875347208359238</c:v>
                </c:pt>
                <c:pt idx="39">
                  <c:v>0.1495564286189579</c:v>
                </c:pt>
                <c:pt idx="40">
                  <c:v>0.15433793580739952</c:v>
                </c:pt>
                <c:pt idx="41">
                  <c:v>0.1451561330731467</c:v>
                </c:pt>
                <c:pt idx="42">
                  <c:v>0.16362260242595655</c:v>
                </c:pt>
                <c:pt idx="43">
                  <c:v>0.1587977376947785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24593800470899574</c:v>
                </c:pt>
                <c:pt idx="1">
                  <c:v>0.25404763758075816</c:v>
                </c:pt>
                <c:pt idx="2">
                  <c:v>0.2515518885364572</c:v>
                </c:pt>
                <c:pt idx="3">
                  <c:v>0.25093895343180184</c:v>
                </c:pt>
                <c:pt idx="4">
                  <c:v>0.2586018994239452</c:v>
                </c:pt>
                <c:pt idx="5">
                  <c:v>0.2511722930246133</c:v>
                </c:pt>
                <c:pt idx="6">
                  <c:v>0.25244702173616923</c:v>
                </c:pt>
                <c:pt idx="7">
                  <c:v>0.25353264042975593</c:v>
                </c:pt>
                <c:pt idx="8">
                  <c:v>0.25290889987158033</c:v>
                </c:pt>
                <c:pt idx="9">
                  <c:v>0.2530995153662002</c:v>
                </c:pt>
                <c:pt idx="10">
                  <c:v>0.2528749051427237</c:v>
                </c:pt>
                <c:pt idx="11">
                  <c:v>0.2531372205684935</c:v>
                </c:pt>
                <c:pt idx="12">
                  <c:v>0.2521160469324616</c:v>
                </c:pt>
                <c:pt idx="13">
                  <c:v>0.25131858079834957</c:v>
                </c:pt>
                <c:pt idx="14">
                  <c:v>0.25221333644659777</c:v>
                </c:pt>
                <c:pt idx="15">
                  <c:v>0.2523155354919054</c:v>
                </c:pt>
                <c:pt idx="16">
                  <c:v>0.2521844046159535</c:v>
                </c:pt>
                <c:pt idx="17">
                  <c:v>0.25312810134464575</c:v>
                </c:pt>
                <c:pt idx="18">
                  <c:v>0.2526606611280814</c:v>
                </c:pt>
                <c:pt idx="19">
                  <c:v>0.25262707246828053</c:v>
                </c:pt>
                <c:pt idx="20">
                  <c:v>0.25306972309249065</c:v>
                </c:pt>
                <c:pt idx="21">
                  <c:v>0.253196582527295</c:v>
                </c:pt>
                <c:pt idx="22">
                  <c:v>0.24885698165333955</c:v>
                </c:pt>
                <c:pt idx="23">
                  <c:v>0.24981516790536595</c:v>
                </c:pt>
                <c:pt idx="24">
                  <c:v>0.2499854082764256</c:v>
                </c:pt>
                <c:pt idx="25">
                  <c:v>0.25120161902352645</c:v>
                </c:pt>
                <c:pt idx="26">
                  <c:v>0.2335772104607721</c:v>
                </c:pt>
                <c:pt idx="27">
                  <c:v>0.2342433500029188</c:v>
                </c:pt>
                <c:pt idx="28">
                  <c:v>0.23510526520605515</c:v>
                </c:pt>
                <c:pt idx="29">
                  <c:v>0.23579893747445851</c:v>
                </c:pt>
                <c:pt idx="30">
                  <c:v>0.236209748029964</c:v>
                </c:pt>
                <c:pt idx="31">
                  <c:v>0.23582188314974115</c:v>
                </c:pt>
                <c:pt idx="32">
                  <c:v>0.23652211132512307</c:v>
                </c:pt>
                <c:pt idx="33">
                  <c:v>0.23572679509632224</c:v>
                </c:pt>
                <c:pt idx="34">
                  <c:v>0.23643652214524793</c:v>
                </c:pt>
                <c:pt idx="35">
                  <c:v>0.23551274567036387</c:v>
                </c:pt>
                <c:pt idx="36">
                  <c:v>0.23516705909825059</c:v>
                </c:pt>
                <c:pt idx="37">
                  <c:v>0.23600163484556547</c:v>
                </c:pt>
                <c:pt idx="38">
                  <c:v>0.23476297968397292</c:v>
                </c:pt>
                <c:pt idx="39">
                  <c:v>0.23488888023975402</c:v>
                </c:pt>
                <c:pt idx="40">
                  <c:v>0.23414482262050715</c:v>
                </c:pt>
                <c:pt idx="41">
                  <c:v>0.234863813229572</c:v>
                </c:pt>
                <c:pt idx="42">
                  <c:v>0.2352448967677908</c:v>
                </c:pt>
                <c:pt idx="43">
                  <c:v>0.23594084452228056</c:v>
                </c:pt>
                <c:pt idx="44">
                  <c:v>0.23490834079321216</c:v>
                </c:pt>
                <c:pt idx="45">
                  <c:v>0.2358710882765063</c:v>
                </c:pt>
                <c:pt idx="46">
                  <c:v>0.23583785782396324</c:v>
                </c:pt>
                <c:pt idx="47">
                  <c:v>0.2353730907675844</c:v>
                </c:pt>
                <c:pt idx="48">
                  <c:v>0.23525747104059183</c:v>
                </c:pt>
                <c:pt idx="49">
                  <c:v>0.2355298741220646</c:v>
                </c:pt>
                <c:pt idx="50">
                  <c:v>0.23536279259821374</c:v>
                </c:pt>
                <c:pt idx="51">
                  <c:v>0.23528496098690482</c:v>
                </c:pt>
              </c:numCache>
            </c:numRef>
          </c:xVal>
          <c:yVal>
            <c:numRef>
              <c:f>Sheet1!$B$48:$B$99</c:f>
              <c:numCache>
                <c:formatCode>General</c:formatCode>
                <c:ptCount val="52"/>
                <c:pt idx="0">
                  <c:v>0.14233729951614082</c:v>
                </c:pt>
                <c:pt idx="1">
                  <c:v>0.13547050158539933</c:v>
                </c:pt>
                <c:pt idx="2">
                  <c:v>0.1690771295941739</c:v>
                </c:pt>
                <c:pt idx="3">
                  <c:v>0.18288090927967512</c:v>
                </c:pt>
                <c:pt idx="4">
                  <c:v>0.0953042642135566</c:v>
                </c:pt>
                <c:pt idx="5">
                  <c:v>0.1509543717229806</c:v>
                </c:pt>
                <c:pt idx="6">
                  <c:v>0.14486832783059278</c:v>
                </c:pt>
                <c:pt idx="7">
                  <c:v>0.13731304385596593</c:v>
                </c:pt>
                <c:pt idx="8">
                  <c:v>0.13133216471212442</c:v>
                </c:pt>
                <c:pt idx="9">
                  <c:v>0.13166748315172058</c:v>
                </c:pt>
                <c:pt idx="10">
                  <c:v>0.13313595653465768</c:v>
                </c:pt>
                <c:pt idx="11">
                  <c:v>0.1346395234648698</c:v>
                </c:pt>
                <c:pt idx="12">
                  <c:v>0.14108112159921313</c:v>
                </c:pt>
                <c:pt idx="13">
                  <c:v>0.13562658925279167</c:v>
                </c:pt>
                <c:pt idx="14">
                  <c:v>0.12882416743399602</c:v>
                </c:pt>
                <c:pt idx="15">
                  <c:v>0.128530228845749</c:v>
                </c:pt>
                <c:pt idx="16">
                  <c:v>0.13573635325822972</c:v>
                </c:pt>
                <c:pt idx="17">
                  <c:v>0.1286958198614644</c:v>
                </c:pt>
                <c:pt idx="18">
                  <c:v>0.13788254866593994</c:v>
                </c:pt>
                <c:pt idx="19">
                  <c:v>0.13982859752227003</c:v>
                </c:pt>
                <c:pt idx="20">
                  <c:v>0.13162134218182692</c:v>
                </c:pt>
                <c:pt idx="21">
                  <c:v>0.12438817833118775</c:v>
                </c:pt>
                <c:pt idx="22">
                  <c:v>0.12007833377114856</c:v>
                </c:pt>
                <c:pt idx="23">
                  <c:v>0.13386135447877642</c:v>
                </c:pt>
                <c:pt idx="24">
                  <c:v>0.1298234784654061</c:v>
                </c:pt>
                <c:pt idx="25">
                  <c:v>0.12184025816255198</c:v>
                </c:pt>
                <c:pt idx="26">
                  <c:v>0.13869505434439333</c:v>
                </c:pt>
                <c:pt idx="27">
                  <c:v>0.1287914157758163</c:v>
                </c:pt>
                <c:pt idx="28">
                  <c:v>0.13421523305022626</c:v>
                </c:pt>
                <c:pt idx="29">
                  <c:v>0.12093829243146388</c:v>
                </c:pt>
                <c:pt idx="30">
                  <c:v>0.1361533309147633</c:v>
                </c:pt>
                <c:pt idx="31">
                  <c:v>0.12895091847587686</c:v>
                </c:pt>
                <c:pt idx="32">
                  <c:v>0.1482863061293544</c:v>
                </c:pt>
                <c:pt idx="33">
                  <c:v>0.13859729952663688</c:v>
                </c:pt>
                <c:pt idx="34">
                  <c:v>0.1279770679274867</c:v>
                </c:pt>
                <c:pt idx="35">
                  <c:v>0.12487130937597807</c:v>
                </c:pt>
                <c:pt idx="36">
                  <c:v>0.13392643176296584</c:v>
                </c:pt>
                <c:pt idx="37">
                  <c:v>0.14214919611843335</c:v>
                </c:pt>
                <c:pt idx="38">
                  <c:v>0.12416430011391881</c:v>
                </c:pt>
                <c:pt idx="39">
                  <c:v>0.12558562342321092</c:v>
                </c:pt>
                <c:pt idx="40">
                  <c:v>0.13469320865667325</c:v>
                </c:pt>
                <c:pt idx="41">
                  <c:v>0.12273705852365846</c:v>
                </c:pt>
                <c:pt idx="42">
                  <c:v>0.1274525009452161</c:v>
                </c:pt>
                <c:pt idx="43">
                  <c:v>0.14054360433472093</c:v>
                </c:pt>
                <c:pt idx="44">
                  <c:v>0.1326310818887486</c:v>
                </c:pt>
                <c:pt idx="45">
                  <c:v>0.12613216511123945</c:v>
                </c:pt>
                <c:pt idx="46">
                  <c:v>0.12972091612316092</c:v>
                </c:pt>
                <c:pt idx="47">
                  <c:v>0.123147248002284</c:v>
                </c:pt>
                <c:pt idx="48">
                  <c:v>0.1368328960637704</c:v>
                </c:pt>
                <c:pt idx="49">
                  <c:v>0.13202031081704876</c:v>
                </c:pt>
                <c:pt idx="50">
                  <c:v>0.1423553657204123</c:v>
                </c:pt>
                <c:pt idx="51">
                  <c:v>0.13643537568344513</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45316373478307087</c:v>
                </c:pt>
              </c:numCache>
            </c:numRef>
          </c:xVal>
          <c:yVal>
            <c:numRef>
              <c:f>Sheet1!$B$102:$B$103</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45316373478307087</c:v>
                </c:pt>
                <c:pt idx="1">
                  <c:v>0.45316373478307087</c:v>
                </c:pt>
              </c:numCache>
            </c:numRef>
          </c:xVal>
          <c:yVal>
            <c:numRef>
              <c:f>Sheet1!$B$106:$B$107</c:f>
              <c:numCache>
                <c:formatCode>General</c:formatCode>
                <c:ptCount val="2"/>
                <c:pt idx="0">
                  <c:v>0.157466929984192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3045799509797264</c:v>
                </c:pt>
              </c:numCache>
            </c:numRef>
          </c:xVal>
          <c:yVal>
            <c:numRef>
              <c:f>Sheet1!$B$110:$B$111</c:f>
              <c:numCache>
                <c:formatCode>General</c:formatCode>
                <c:ptCount val="2"/>
                <c:pt idx="0">
                  <c:v>0.1407740074662362</c:v>
                </c:pt>
                <c:pt idx="1">
                  <c:v>0.1407740074662362</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3045799509797264</c:v>
                </c:pt>
                <c:pt idx="1">
                  <c:v>0.3045799509797264</c:v>
                </c:pt>
              </c:numCache>
            </c:numRef>
          </c:xVal>
          <c:yVal>
            <c:numRef>
              <c:f>Sheet1!$B$114:$B$115</c:f>
              <c:numCache>
                <c:formatCode>General</c:formatCode>
                <c:ptCount val="2"/>
                <c:pt idx="0">
                  <c:v>0.1407740074662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22257106222076628</c:v>
                </c:pt>
              </c:numCache>
            </c:numRef>
          </c:xVal>
          <c:yVal>
            <c:numRef>
              <c:f>Sheet1!$B$118:$B$119</c:f>
              <c:numCache>
                <c:formatCode>General</c:formatCode>
                <c:ptCount val="2"/>
                <c:pt idx="0">
                  <c:v>0.13156056579181455</c:v>
                </c:pt>
                <c:pt idx="1">
                  <c:v>0.13156056579181455</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22257106222076628</c:v>
                </c:pt>
                <c:pt idx="1">
                  <c:v>0.22257106222076628</c:v>
                </c:pt>
              </c:numCache>
            </c:numRef>
          </c:xVal>
          <c:yVal>
            <c:numRef>
              <c:f>Sheet1!$B$122:$B$123</c:f>
              <c:numCache>
                <c:formatCode>General</c:formatCode>
                <c:ptCount val="2"/>
                <c:pt idx="0">
                  <c:v>0.131560565791814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24593800470899574</c:v>
                </c:pt>
                <c:pt idx="1">
                  <c:v>0.25404763758075816</c:v>
                </c:pt>
                <c:pt idx="2">
                  <c:v>0.2515518885364572</c:v>
                </c:pt>
                <c:pt idx="3">
                  <c:v>0.25093895343180184</c:v>
                </c:pt>
                <c:pt idx="4">
                  <c:v>0.2586018994239452</c:v>
                </c:pt>
                <c:pt idx="5">
                  <c:v>0.2511722930246133</c:v>
                </c:pt>
                <c:pt idx="6">
                  <c:v>0.25244702173616923</c:v>
                </c:pt>
                <c:pt idx="7">
                  <c:v>0.25353264042975593</c:v>
                </c:pt>
                <c:pt idx="8">
                  <c:v>0.25290889987158033</c:v>
                </c:pt>
                <c:pt idx="9">
                  <c:v>0.2530995153662002</c:v>
                </c:pt>
                <c:pt idx="10">
                  <c:v>0.2528749051427237</c:v>
                </c:pt>
                <c:pt idx="11">
                  <c:v>0.2531372205684935</c:v>
                </c:pt>
                <c:pt idx="12">
                  <c:v>0.2521160469324616</c:v>
                </c:pt>
                <c:pt idx="13">
                  <c:v>0.25131858079834957</c:v>
                </c:pt>
                <c:pt idx="14">
                  <c:v>0.25221333644659777</c:v>
                </c:pt>
                <c:pt idx="15">
                  <c:v>0.2523155354919054</c:v>
                </c:pt>
                <c:pt idx="16">
                  <c:v>0.2521844046159535</c:v>
                </c:pt>
                <c:pt idx="17">
                  <c:v>0.25312810134464575</c:v>
                </c:pt>
                <c:pt idx="18">
                  <c:v>0.2526606611280814</c:v>
                </c:pt>
                <c:pt idx="19">
                  <c:v>0.25262707246828053</c:v>
                </c:pt>
                <c:pt idx="20">
                  <c:v>0.25306972309249065</c:v>
                </c:pt>
                <c:pt idx="21">
                  <c:v>0.253196582527295</c:v>
                </c:pt>
                <c:pt idx="22">
                  <c:v>0.24885698165333955</c:v>
                </c:pt>
                <c:pt idx="23">
                  <c:v>0.24981516790536595</c:v>
                </c:pt>
                <c:pt idx="24">
                  <c:v>0.2499854082764256</c:v>
                </c:pt>
                <c:pt idx="25">
                  <c:v>0.25120161902352645</c:v>
                </c:pt>
                <c:pt idx="26">
                  <c:v>0.2335772104607721</c:v>
                </c:pt>
                <c:pt idx="27">
                  <c:v>0.2342433500029188</c:v>
                </c:pt>
                <c:pt idx="28">
                  <c:v>0.23510526520605515</c:v>
                </c:pt>
                <c:pt idx="29">
                  <c:v>0.23579893747445851</c:v>
                </c:pt>
                <c:pt idx="30">
                  <c:v>0.236209748029964</c:v>
                </c:pt>
                <c:pt idx="31">
                  <c:v>0.23582188314974115</c:v>
                </c:pt>
                <c:pt idx="32">
                  <c:v>0.23652211132512307</c:v>
                </c:pt>
                <c:pt idx="33">
                  <c:v>0.23572679509632224</c:v>
                </c:pt>
                <c:pt idx="34">
                  <c:v>0.23643652214524793</c:v>
                </c:pt>
                <c:pt idx="35">
                  <c:v>0.23551274567036387</c:v>
                </c:pt>
                <c:pt idx="36">
                  <c:v>0.23516705909825059</c:v>
                </c:pt>
                <c:pt idx="37">
                  <c:v>0.23600163484556547</c:v>
                </c:pt>
                <c:pt idx="38">
                  <c:v>0.23476297968397292</c:v>
                </c:pt>
                <c:pt idx="39">
                  <c:v>0.23488888023975402</c:v>
                </c:pt>
                <c:pt idx="40">
                  <c:v>0.23414482262050715</c:v>
                </c:pt>
                <c:pt idx="41">
                  <c:v>0.234863813229572</c:v>
                </c:pt>
                <c:pt idx="42">
                  <c:v>0.2352448967677908</c:v>
                </c:pt>
                <c:pt idx="43">
                  <c:v>0.23594084452228056</c:v>
                </c:pt>
                <c:pt idx="44">
                  <c:v>0.23490834079321216</c:v>
                </c:pt>
                <c:pt idx="45">
                  <c:v>0.2358710882765063</c:v>
                </c:pt>
                <c:pt idx="46">
                  <c:v>0.23583785782396324</c:v>
                </c:pt>
                <c:pt idx="47">
                  <c:v>0.2353730907675844</c:v>
                </c:pt>
                <c:pt idx="48">
                  <c:v>0.23525747104059183</c:v>
                </c:pt>
                <c:pt idx="49">
                  <c:v>0.2355298741220646</c:v>
                </c:pt>
                <c:pt idx="50">
                  <c:v>0.23536279259821374</c:v>
                </c:pt>
                <c:pt idx="51">
                  <c:v>0.23528496098690482</c:v>
                </c:pt>
                <c:pt idx="52">
                  <c:v>0.3045799509797264</c:v>
                </c:pt>
                <c:pt idx="53">
                  <c:v>0.45316373478307087</c:v>
                </c:pt>
                <c:pt idx="54">
                  <c:v>0.22257106222076628</c:v>
                </c:pt>
              </c:numCache>
            </c:numRef>
          </c:xVal>
          <c:yVal>
            <c:numRef>
              <c:f>Sheet1!$B$126:$B$180</c:f>
              <c:numCache>
                <c:formatCode>General</c:formatCode>
                <c:ptCount val="55"/>
                <c:pt idx="0">
                  <c:v>0.13418576855925657</c:v>
                </c:pt>
                <c:pt idx="1">
                  <c:v>0.13509686040058813</c:v>
                </c:pt>
                <c:pt idx="2">
                  <c:v>0.1348164708159756</c:v>
                </c:pt>
                <c:pt idx="3">
                  <c:v>0.1347476094776206</c:v>
                </c:pt>
                <c:pt idx="4">
                  <c:v>0.1356085174477355</c:v>
                </c:pt>
                <c:pt idx="5">
                  <c:v>0.1347738244496954</c:v>
                </c:pt>
                <c:pt idx="6">
                  <c:v>0.13491703622603285</c:v>
                </c:pt>
                <c:pt idx="7">
                  <c:v>0.13503900208443415</c:v>
                </c:pt>
                <c:pt idx="8">
                  <c:v>0.1349689267872354</c:v>
                </c:pt>
                <c:pt idx="9">
                  <c:v>0.1349903418407558</c:v>
                </c:pt>
                <c:pt idx="10">
                  <c:v>0.13496510758597202</c:v>
                </c:pt>
                <c:pt idx="11">
                  <c:v>0.1349945779020829</c:v>
                </c:pt>
                <c:pt idx="12">
                  <c:v>0.13487985224395713</c:v>
                </c:pt>
                <c:pt idx="13">
                  <c:v>0.13479025942267694</c:v>
                </c:pt>
                <c:pt idx="14">
                  <c:v>0.13489078241601032</c:v>
                </c:pt>
                <c:pt idx="15">
                  <c:v>0.13490226415850642</c:v>
                </c:pt>
                <c:pt idx="16">
                  <c:v>0.1348875320154963</c:v>
                </c:pt>
                <c:pt idx="17">
                  <c:v>0.13499355338585903</c:v>
                </c:pt>
                <c:pt idx="18">
                  <c:v>0.13494103794226786</c:v>
                </c:pt>
                <c:pt idx="19">
                  <c:v>0.13493726436159045</c:v>
                </c:pt>
                <c:pt idx="20">
                  <c:v>0.13498699477215964</c:v>
                </c:pt>
                <c:pt idx="21">
                  <c:v>0.13500124703214156</c:v>
                </c:pt>
                <c:pt idx="22">
                  <c:v>0.13451370647223987</c:v>
                </c:pt>
                <c:pt idx="23">
                  <c:v>0.13462135569514577</c:v>
                </c:pt>
                <c:pt idx="24">
                  <c:v>0.13464048166738032</c:v>
                </c:pt>
                <c:pt idx="25">
                  <c:v>0.13477711913377927</c:v>
                </c:pt>
                <c:pt idx="26">
                  <c:v>0.13279707205843863</c:v>
                </c:pt>
                <c:pt idx="27">
                  <c:v>0.13287191074862786</c:v>
                </c:pt>
                <c:pt idx="28">
                  <c:v>0.13296874422085958</c:v>
                </c:pt>
                <c:pt idx="29">
                  <c:v>0.133046676126569</c:v>
                </c:pt>
                <c:pt idx="30">
                  <c:v>0.13309282940519118</c:v>
                </c:pt>
                <c:pt idx="31">
                  <c:v>0.13304925400128595</c:v>
                </c:pt>
                <c:pt idx="32">
                  <c:v>0.13312792244260127</c:v>
                </c:pt>
                <c:pt idx="33">
                  <c:v>0.133038571156446</c:v>
                </c:pt>
                <c:pt idx="34">
                  <c:v>0.1331183067664389</c:v>
                </c:pt>
                <c:pt idx="35">
                  <c:v>0.13301452337417075</c:v>
                </c:pt>
                <c:pt idx="36">
                  <c:v>0.13297568657101447</c:v>
                </c:pt>
                <c:pt idx="37">
                  <c:v>0.13306944854105374</c:v>
                </c:pt>
                <c:pt idx="38">
                  <c:v>0.13293028951501698</c:v>
                </c:pt>
                <c:pt idx="39">
                  <c:v>0.13294443404794531</c:v>
                </c:pt>
                <c:pt idx="40">
                  <c:v>0.13286084150595281</c:v>
                </c:pt>
                <c:pt idx="41">
                  <c:v>0.13294161784789968</c:v>
                </c:pt>
                <c:pt idx="42">
                  <c:v>0.13298443138928032</c:v>
                </c:pt>
                <c:pt idx="43">
                  <c:v>0.13306261893872123</c:v>
                </c:pt>
                <c:pt idx="44">
                  <c:v>0.132946620380146</c:v>
                </c:pt>
                <c:pt idx="45">
                  <c:v>0.13305478204309207</c:v>
                </c:pt>
                <c:pt idx="46">
                  <c:v>0.1330510487058776</c:v>
                </c:pt>
                <c:pt idx="47">
                  <c:v>0.13299883358345685</c:v>
                </c:pt>
                <c:pt idx="48">
                  <c:v>0.1329858440694276</c:v>
                </c:pt>
                <c:pt idx="49">
                  <c:v>0.13301644770204674</c:v>
                </c:pt>
                <c:pt idx="50">
                  <c:v>0.13299767661639772</c:v>
                </c:pt>
                <c:pt idx="51">
                  <c:v>0.13298893247875518</c:v>
                </c:pt>
                <c:pt idx="52">
                  <c:v>0.1407740074662362</c:v>
                </c:pt>
                <c:pt idx="53">
                  <c:v>0.15746692998419215</c:v>
                </c:pt>
                <c:pt idx="54">
                  <c:v>0.1315605657918145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945709113561016"/>
          <c:min val="0.0762434113708452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pt idx="14">
                  <c:v>0.1518651964125978</c:v>
                </c:pt>
                <c:pt idx="15">
                  <c:v>0.1504013448624766</c:v>
                </c:pt>
                <c:pt idx="16">
                  <c:v>0.14288748305163024</c:v>
                </c:pt>
                <c:pt idx="17">
                  <c:v>0.14797397500774553</c:v>
                </c:pt>
                <c:pt idx="18">
                  <c:v>0.15252222853717481</c:v>
                </c:pt>
                <c:pt idx="19">
                  <c:v>0.16283995696512849</c:v>
                </c:pt>
                <c:pt idx="20">
                  <c:v>0.15315737240602595</c:v>
                </c:pt>
                <c:pt idx="21">
                  <c:v>0.1523951154990098</c:v>
                </c:pt>
                <c:pt idx="22">
                  <c:v>0.14583372795635785</c:v>
                </c:pt>
                <c:pt idx="23">
                  <c:v>0.15323664549123017</c:v>
                </c:pt>
                <c:pt idx="24">
                  <c:v>0.1670193101260069</c:v>
                </c:pt>
                <c:pt idx="25">
                  <c:v>0.1609670903863616</c:v>
                </c:pt>
                <c:pt idx="26">
                  <c:v>0.14148247968038966</c:v>
                </c:pt>
                <c:pt idx="27">
                  <c:v>0.14781384276598883</c:v>
                </c:pt>
                <c:pt idx="28">
                  <c:v>0.1565551762865177</c:v>
                </c:pt>
                <c:pt idx="29">
                  <c:v>0.15108824484305072</c:v>
                </c:pt>
                <c:pt idx="30">
                  <c:v>0.1502032784717426</c:v>
                </c:pt>
                <c:pt idx="31">
                  <c:v>0.15099884163712368</c:v>
                </c:pt>
                <c:pt idx="32">
                  <c:v>0.1469827647398572</c:v>
                </c:pt>
                <c:pt idx="33">
                  <c:v>0.139377284384369</c:v>
                </c:pt>
                <c:pt idx="34">
                  <c:v>0.14250558426953452</c:v>
                </c:pt>
                <c:pt idx="35">
                  <c:v>0.14703648492779237</c:v>
                </c:pt>
                <c:pt idx="36">
                  <c:v>0.13678848578048583</c:v>
                </c:pt>
                <c:pt idx="37">
                  <c:v>0.1643596139690848</c:v>
                </c:pt>
                <c:pt idx="38">
                  <c:v>0.14875347208359238</c:v>
                </c:pt>
                <c:pt idx="39">
                  <c:v>0.1495564286189579</c:v>
                </c:pt>
                <c:pt idx="40">
                  <c:v>0.15433793580739952</c:v>
                </c:pt>
                <c:pt idx="41">
                  <c:v>0.1451561330731467</c:v>
                </c:pt>
                <c:pt idx="42">
                  <c:v>0.16362260242595655</c:v>
                </c:pt>
                <c:pt idx="43">
                  <c:v>0.1587977376947785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14233729951614082</c:v>
                </c:pt>
                <c:pt idx="1">
                  <c:v>0.13547050158539933</c:v>
                </c:pt>
                <c:pt idx="2">
                  <c:v>0.1690771295941739</c:v>
                </c:pt>
                <c:pt idx="3">
                  <c:v>0.18288090927967512</c:v>
                </c:pt>
                <c:pt idx="4">
                  <c:v>0.0953042642135566</c:v>
                </c:pt>
                <c:pt idx="5">
                  <c:v>0.1509543717229806</c:v>
                </c:pt>
                <c:pt idx="6">
                  <c:v>0.14486832783059278</c:v>
                </c:pt>
                <c:pt idx="7">
                  <c:v>0.13731304385596593</c:v>
                </c:pt>
                <c:pt idx="8">
                  <c:v>0.13133216471212442</c:v>
                </c:pt>
                <c:pt idx="9">
                  <c:v>0.13166748315172058</c:v>
                </c:pt>
                <c:pt idx="10">
                  <c:v>0.13313595653465768</c:v>
                </c:pt>
                <c:pt idx="11">
                  <c:v>0.1346395234648698</c:v>
                </c:pt>
                <c:pt idx="12">
                  <c:v>0.14108112159921313</c:v>
                </c:pt>
                <c:pt idx="13">
                  <c:v>0.13562658925279167</c:v>
                </c:pt>
                <c:pt idx="14">
                  <c:v>0.12882416743399602</c:v>
                </c:pt>
                <c:pt idx="15">
                  <c:v>0.128530228845749</c:v>
                </c:pt>
                <c:pt idx="16">
                  <c:v>0.13573635325822972</c:v>
                </c:pt>
                <c:pt idx="17">
                  <c:v>0.1286958198614644</c:v>
                </c:pt>
                <c:pt idx="18">
                  <c:v>0.13788254866593994</c:v>
                </c:pt>
                <c:pt idx="19">
                  <c:v>0.13982859752227003</c:v>
                </c:pt>
                <c:pt idx="20">
                  <c:v>0.13162134218182692</c:v>
                </c:pt>
                <c:pt idx="21">
                  <c:v>0.12438817833118775</c:v>
                </c:pt>
                <c:pt idx="22">
                  <c:v>0.12007833377114856</c:v>
                </c:pt>
                <c:pt idx="23">
                  <c:v>0.13386135447877642</c:v>
                </c:pt>
                <c:pt idx="24">
                  <c:v>0.1298234784654061</c:v>
                </c:pt>
                <c:pt idx="25">
                  <c:v>0.12184025816255198</c:v>
                </c:pt>
                <c:pt idx="26">
                  <c:v>0.13869505434439333</c:v>
                </c:pt>
                <c:pt idx="27">
                  <c:v>0.1287914157758163</c:v>
                </c:pt>
                <c:pt idx="28">
                  <c:v>0.13421523305022626</c:v>
                </c:pt>
                <c:pt idx="29">
                  <c:v>0.12093829243146388</c:v>
                </c:pt>
                <c:pt idx="30">
                  <c:v>0.1361533309147633</c:v>
                </c:pt>
                <c:pt idx="31">
                  <c:v>0.12895091847587686</c:v>
                </c:pt>
                <c:pt idx="32">
                  <c:v>0.1482863061293544</c:v>
                </c:pt>
                <c:pt idx="33">
                  <c:v>0.13859729952663688</c:v>
                </c:pt>
                <c:pt idx="34">
                  <c:v>0.1279770679274867</c:v>
                </c:pt>
                <c:pt idx="35">
                  <c:v>0.12487130937597807</c:v>
                </c:pt>
                <c:pt idx="36">
                  <c:v>0.13392643176296584</c:v>
                </c:pt>
                <c:pt idx="37">
                  <c:v>0.14214919611843335</c:v>
                </c:pt>
                <c:pt idx="38">
                  <c:v>0.12416430011391881</c:v>
                </c:pt>
                <c:pt idx="39">
                  <c:v>0.12558562342321092</c:v>
                </c:pt>
                <c:pt idx="40">
                  <c:v>0.13469320865667325</c:v>
                </c:pt>
                <c:pt idx="41">
                  <c:v>0.12273705852365846</c:v>
                </c:pt>
                <c:pt idx="42">
                  <c:v>0.1274525009452161</c:v>
                </c:pt>
                <c:pt idx="43">
                  <c:v>0.14054360433472093</c:v>
                </c:pt>
                <c:pt idx="44">
                  <c:v>0.1326310818887486</c:v>
                </c:pt>
                <c:pt idx="45">
                  <c:v>0.12613216511123945</c:v>
                </c:pt>
                <c:pt idx="46">
                  <c:v>0.12972091612316092</c:v>
                </c:pt>
                <c:pt idx="47">
                  <c:v>0.123147248002284</c:v>
                </c:pt>
                <c:pt idx="48">
                  <c:v>0.1368328960637704</c:v>
                </c:pt>
                <c:pt idx="49">
                  <c:v>0.13202031081704876</c:v>
                </c:pt>
                <c:pt idx="50">
                  <c:v>0.1423553657204123</c:v>
                </c:pt>
                <c:pt idx="51">
                  <c:v>0.13643537568344513</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3278476268654167</c:v>
                </c:pt>
              </c:numCache>
            </c:numRef>
          </c:xVal>
          <c:yVal>
            <c:numRef>
              <c:f>Sheet1!$B$102:$B$103</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3278476268654167</c:v>
                </c:pt>
                <c:pt idx="1">
                  <c:v>2.3278476268654167</c:v>
                </c:pt>
              </c:numCache>
            </c:numRef>
          </c:xVal>
          <c:yVal>
            <c:numRef>
              <c:f>Sheet1!$B$106:$B$107</c:f>
              <c:numCache>
                <c:formatCode>General</c:formatCode>
                <c:ptCount val="2"/>
                <c:pt idx="0">
                  <c:v>0.157466929984192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5649516678244895</c:v>
                </c:pt>
              </c:numCache>
            </c:numRef>
          </c:xVal>
          <c:yVal>
            <c:numRef>
              <c:f>Sheet1!$B$110:$B$111</c:f>
              <c:numCache>
                <c:formatCode>General</c:formatCode>
                <c:ptCount val="2"/>
                <c:pt idx="0">
                  <c:v>0.1407740074662362</c:v>
                </c:pt>
                <c:pt idx="1">
                  <c:v>0.1407740074662362</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5649516678244895</c:v>
                </c:pt>
                <c:pt idx="1">
                  <c:v>1.5649516678244895</c:v>
                </c:pt>
              </c:numCache>
            </c:numRef>
          </c:xVal>
          <c:yVal>
            <c:numRef>
              <c:f>Sheet1!$B$114:$B$115</c:f>
              <c:numCache>
                <c:formatCode>General</c:formatCode>
                <c:ptCount val="2"/>
                <c:pt idx="0">
                  <c:v>0.1407740074662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438811563718168</c:v>
                </c:pt>
              </c:numCache>
            </c:numRef>
          </c:xVal>
          <c:yVal>
            <c:numRef>
              <c:f>Sheet1!$B$118:$B$119</c:f>
              <c:numCache>
                <c:formatCode>General</c:formatCode>
                <c:ptCount val="2"/>
                <c:pt idx="0">
                  <c:v>0.13156056579181455</c:v>
                </c:pt>
                <c:pt idx="1">
                  <c:v>0.13156056579181455</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438811563718168</c:v>
                </c:pt>
                <c:pt idx="1">
                  <c:v>1.1438811563718168</c:v>
                </c:pt>
              </c:numCache>
            </c:numRef>
          </c:xVal>
          <c:yVal>
            <c:numRef>
              <c:f>Sheet1!$B$122:$B$123</c:f>
              <c:numCache>
                <c:formatCode>General</c:formatCode>
                <c:ptCount val="2"/>
                <c:pt idx="0">
                  <c:v>0.131560565791814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5649516678244895</c:v>
                </c:pt>
                <c:pt idx="53">
                  <c:v>2.3278476268654167</c:v>
                </c:pt>
                <c:pt idx="54">
                  <c:v>1.1438811563718168</c:v>
                </c:pt>
              </c:numCache>
            </c:numRef>
          </c:xVal>
          <c:yVal>
            <c:numRef>
              <c:f>Sheet1!$B$126:$B$180</c:f>
              <c:numCache>
                <c:formatCode>General</c:formatCode>
                <c:ptCount val="55"/>
                <c:pt idx="0">
                  <c:v>0.13418669748596926</c:v>
                </c:pt>
                <c:pt idx="1">
                  <c:v>0.135096946869935</c:v>
                </c:pt>
                <c:pt idx="2">
                  <c:v>0.13481687013640709</c:v>
                </c:pt>
                <c:pt idx="3">
                  <c:v>0.1347468509530251</c:v>
                </c:pt>
                <c:pt idx="4">
                  <c:v>0.13560677404893506</c:v>
                </c:pt>
                <c:pt idx="5">
                  <c:v>0.13477748434575473</c:v>
                </c:pt>
                <c:pt idx="6">
                  <c:v>0.1349175227125187</c:v>
                </c:pt>
                <c:pt idx="7">
                  <c:v>0.1350334919849951</c:v>
                </c:pt>
                <c:pt idx="8">
                  <c:v>0.13497222519953586</c:v>
                </c:pt>
                <c:pt idx="9">
                  <c:v>0.13498535379642</c:v>
                </c:pt>
                <c:pt idx="10">
                  <c:v>0.13496784900057449</c:v>
                </c:pt>
                <c:pt idx="11">
                  <c:v>0.1350006704927848</c:v>
                </c:pt>
                <c:pt idx="12">
                  <c:v>0.1348825131208277</c:v>
                </c:pt>
                <c:pt idx="13">
                  <c:v>0.13478623674367746</c:v>
                </c:pt>
                <c:pt idx="14">
                  <c:v>0.13489345361823113</c:v>
                </c:pt>
                <c:pt idx="15">
                  <c:v>0.13490439411563457</c:v>
                </c:pt>
                <c:pt idx="16">
                  <c:v>0.13488688931978907</c:v>
                </c:pt>
                <c:pt idx="17">
                  <c:v>0.13499410619434274</c:v>
                </c:pt>
                <c:pt idx="18">
                  <c:v>0.1349459680057676</c:v>
                </c:pt>
                <c:pt idx="19">
                  <c:v>0.13493721560784488</c:v>
                </c:pt>
                <c:pt idx="20">
                  <c:v>0.13498754189590068</c:v>
                </c:pt>
                <c:pt idx="21">
                  <c:v>0.13499848239330411</c:v>
                </c:pt>
                <c:pt idx="22">
                  <c:v>0.13451928860703366</c:v>
                </c:pt>
                <c:pt idx="23">
                  <c:v>0.13462650548158733</c:v>
                </c:pt>
                <c:pt idx="24">
                  <c:v>0.1346461983769135</c:v>
                </c:pt>
                <c:pt idx="25">
                  <c:v>0.13477748434575473</c:v>
                </c:pt>
                <c:pt idx="26">
                  <c:v>0.13279725431573308</c:v>
                </c:pt>
                <c:pt idx="27">
                  <c:v>0.13287164969807644</c:v>
                </c:pt>
                <c:pt idx="28">
                  <c:v>0.13297011417470733</c:v>
                </c:pt>
                <c:pt idx="29">
                  <c:v>0.1330445095570507</c:v>
                </c:pt>
                <c:pt idx="30">
                  <c:v>0.1330948358451065</c:v>
                </c:pt>
                <c:pt idx="31">
                  <c:v>0.1330445095570507</c:v>
                </c:pt>
                <c:pt idx="32">
                  <c:v>0.13313203353627817</c:v>
                </c:pt>
                <c:pt idx="33">
                  <c:v>0.13303794525860863</c:v>
                </c:pt>
                <c:pt idx="34">
                  <c:v>0.13311671683991336</c:v>
                </c:pt>
                <c:pt idx="35">
                  <c:v>0.1330138761643211</c:v>
                </c:pt>
                <c:pt idx="36">
                  <c:v>0.1329744903736687</c:v>
                </c:pt>
                <c:pt idx="37">
                  <c:v>0.13306420245237688</c:v>
                </c:pt>
                <c:pt idx="38">
                  <c:v>0.1329285402845743</c:v>
                </c:pt>
                <c:pt idx="39">
                  <c:v>0.13294166888145842</c:v>
                </c:pt>
                <c:pt idx="40">
                  <c:v>0.1328585211011923</c:v>
                </c:pt>
                <c:pt idx="41">
                  <c:v>0.1329460450804198</c:v>
                </c:pt>
                <c:pt idx="42">
                  <c:v>0.13298324277159146</c:v>
                </c:pt>
                <c:pt idx="43">
                  <c:v>0.1330620143528962</c:v>
                </c:pt>
                <c:pt idx="44">
                  <c:v>0.1329438569809391</c:v>
                </c:pt>
                <c:pt idx="45">
                  <c:v>0.13305107385549275</c:v>
                </c:pt>
                <c:pt idx="46">
                  <c:v>0.13304888575601206</c:v>
                </c:pt>
                <c:pt idx="47">
                  <c:v>0.13300074756743696</c:v>
                </c:pt>
                <c:pt idx="48">
                  <c:v>0.13297230227418802</c:v>
                </c:pt>
                <c:pt idx="49">
                  <c:v>0.13302044046276312</c:v>
                </c:pt>
                <c:pt idx="50">
                  <c:v>0.13299855946795627</c:v>
                </c:pt>
                <c:pt idx="51">
                  <c:v>0.13298980707003352</c:v>
                </c:pt>
                <c:pt idx="52">
                  <c:v>0.1407740074662362</c:v>
                </c:pt>
                <c:pt idx="53">
                  <c:v>0.15746692998419215</c:v>
                </c:pt>
                <c:pt idx="54">
                  <c:v>0.1315605657918145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1945709113561016"/>
          <c:min val="0.0762434113708452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4434915268214241</c:v>
                </c:pt>
                <c:pt idx="1">
                  <c:v>0.44460022267123006</c:v>
                </c:pt>
                <c:pt idx="2">
                  <c:v>0.4451134020618557</c:v>
                </c:pt>
                <c:pt idx="3">
                  <c:v>0.4449484536082474</c:v>
                </c:pt>
                <c:pt idx="4">
                  <c:v>0.4458601352465776</c:v>
                </c:pt>
                <c:pt idx="5">
                  <c:v>0.44558987258257393</c:v>
                </c:pt>
                <c:pt idx="6">
                  <c:v>0.44581890153389414</c:v>
                </c:pt>
                <c:pt idx="7">
                  <c:v>0.44569520039584365</c:v>
                </c:pt>
                <c:pt idx="8">
                  <c:v>0.47938144329896915</c:v>
                </c:pt>
                <c:pt idx="9">
                  <c:v>0.521979381443299</c:v>
                </c:pt>
                <c:pt idx="10">
                  <c:v>0.5236916986267475</c:v>
                </c:pt>
                <c:pt idx="11">
                  <c:v>0.5236288659793815</c:v>
                </c:pt>
                <c:pt idx="12">
                  <c:v>0.5234207488042224</c:v>
                </c:pt>
                <c:pt idx="13">
                  <c:v>0.5242238073640375</c:v>
                </c:pt>
              </c:numCache>
            </c:numRef>
          </c:xVal>
          <c:yVal>
            <c:numRef>
              <c:f>Sheet1!$B$2:$B$15</c:f>
              <c:numCache>
                <c:formatCode>General</c:formatCode>
                <c:ptCount val="1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15746692998419215</c:v>
                </c:pt>
              </c:numCache>
            </c:numRef>
          </c:xVal>
          <c:yVal>
            <c:numRef>
              <c:f>Sheet1!$B$20:$B$21</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15746692998419215</c:v>
                </c:pt>
                <c:pt idx="1">
                  <c:v>0.15746692998419215</c:v>
                </c:pt>
              </c:numCache>
            </c:numRef>
          </c:xVal>
          <c:yVal>
            <c:numRef>
              <c:f>Sheet1!$B$24:$B$25</c:f>
              <c:numCache>
                <c:formatCode>General</c:formatCode>
                <c:ptCount val="2"/>
                <c:pt idx="0">
                  <c:v>0.157466929984192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15746692998419215</c:v>
                </c:pt>
                <c:pt idx="2">
                  <c:v>0</c:v>
                </c:pt>
              </c:numCache>
            </c:numRef>
          </c:xVal>
          <c:yVal>
            <c:numRef>
              <c:f>Sheet1!$B$28:$B$30</c:f>
              <c:numCache>
                <c:formatCode>General</c:formatCode>
                <c:ptCount val="3"/>
                <c:pt idx="0">
                  <c:v>0</c:v>
                </c:pt>
                <c:pt idx="1">
                  <c:v>0.1574669299841921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45937480515102"/>
          <c:min val="0.1120232193005482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numCache>
            </c:numRef>
          </c:xVal>
          <c:yVal>
            <c:numRef>
              <c:f>Sheet1!$B$2:$B$15</c:f>
              <c:numCache>
                <c:formatCode>General</c:formatCode>
                <c:ptCount val="14"/>
                <c:pt idx="0">
                  <c:v>0.14002902412568535</c:v>
                </c:pt>
                <c:pt idx="1">
                  <c:v>0.1630351719271628</c:v>
                </c:pt>
                <c:pt idx="2">
                  <c:v>0.16371152176881745</c:v>
                </c:pt>
                <c:pt idx="3">
                  <c:v>0.1619940538681809</c:v>
                </c:pt>
                <c:pt idx="4">
                  <c:v>0.15856487823111431</c:v>
                </c:pt>
                <c:pt idx="5">
                  <c:v>0.16538281233762586</c:v>
                </c:pt>
                <c:pt idx="6">
                  <c:v>0.15682978343955156</c:v>
                </c:pt>
                <c:pt idx="7">
                  <c:v>0.14157013643825056</c:v>
                </c:pt>
                <c:pt idx="8">
                  <c:v>0.1485023546073896</c:v>
                </c:pt>
                <c:pt idx="9">
                  <c:v>0.15173706069187232</c:v>
                </c:pt>
                <c:pt idx="10">
                  <c:v>0.1542796934922047</c:v>
                </c:pt>
                <c:pt idx="11">
                  <c:v>0.15530454174233752</c:v>
                </c:pt>
                <c:pt idx="12">
                  <c:v>0.15699250680429178</c:v>
                </c:pt>
                <c:pt idx="13">
                  <c:v>0.15299259704428114</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15746692998419215</c:v>
                </c:pt>
              </c:numCache>
            </c:numRef>
          </c:xVal>
          <c:yVal>
            <c:numRef>
              <c:f>Sheet1!$B$20:$B$21</c:f>
              <c:numCache>
                <c:formatCode>General</c:formatCode>
                <c:ptCount val="2"/>
                <c:pt idx="0">
                  <c:v>0.15746692998419215</c:v>
                </c:pt>
                <c:pt idx="1">
                  <c:v>0.15746692998419215</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15746692998419215</c:v>
                </c:pt>
                <c:pt idx="1">
                  <c:v>0.15746692998419215</c:v>
                </c:pt>
              </c:numCache>
            </c:numRef>
          </c:xVal>
          <c:yVal>
            <c:numRef>
              <c:f>Sheet1!$B$24:$B$25</c:f>
              <c:numCache>
                <c:formatCode>General</c:formatCode>
                <c:ptCount val="2"/>
                <c:pt idx="0">
                  <c:v>0.157466929984192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15746692998419215</c:v>
                </c:pt>
                <c:pt idx="2">
                  <c:v>0</c:v>
                </c:pt>
              </c:numCache>
            </c:numRef>
          </c:xVal>
          <c:yVal>
            <c:numRef>
              <c:f>Sheet1!$B$28:$B$30</c:f>
              <c:numCache>
                <c:formatCode>General</c:formatCode>
                <c:ptCount val="3"/>
                <c:pt idx="0">
                  <c:v>0</c:v>
                </c:pt>
                <c:pt idx="1">
                  <c:v>0.1574669299841921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845937480515102"/>
          <c:min val="0.1120232193005482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1590095336698159</c:v>
                </c:pt>
                <c:pt idx="1">
                  <c:v>1.1589595375722543</c:v>
                </c:pt>
                <c:pt idx="2">
                  <c:v>1.1589164006556811</c:v>
                </c:pt>
                <c:pt idx="3">
                  <c:v>1.1590026744888275</c:v>
                </c:pt>
                <c:pt idx="4">
                  <c:v>1.1589595375722543</c:v>
                </c:pt>
                <c:pt idx="5">
                  <c:v>1.1589595375722543</c:v>
                </c:pt>
                <c:pt idx="6">
                  <c:v>1.1589595375722543</c:v>
                </c:pt>
                <c:pt idx="7">
                  <c:v>1.1590026744888275</c:v>
                </c:pt>
                <c:pt idx="8">
                  <c:v>1.1589595375722543</c:v>
                </c:pt>
                <c:pt idx="9">
                  <c:v>1.1590026744888275</c:v>
                </c:pt>
                <c:pt idx="10">
                  <c:v>1.1589595375722543</c:v>
                </c:pt>
                <c:pt idx="11">
                  <c:v>1.1589595375722543</c:v>
                </c:pt>
                <c:pt idx="12">
                  <c:v>1.1590026744888275</c:v>
                </c:pt>
                <c:pt idx="13">
                  <c:v>1.1589164006556811</c:v>
                </c:pt>
                <c:pt idx="14">
                  <c:v>1.1589164006556811</c:v>
                </c:pt>
                <c:pt idx="15">
                  <c:v>1.1589595375722543</c:v>
                </c:pt>
                <c:pt idx="16">
                  <c:v>1.1589595375722543</c:v>
                </c:pt>
                <c:pt idx="17">
                  <c:v>1.1590026744888275</c:v>
                </c:pt>
                <c:pt idx="18">
                  <c:v>1.159052672447263</c:v>
                </c:pt>
                <c:pt idx="19">
                  <c:v>1.1589595375722543</c:v>
                </c:pt>
                <c:pt idx="20">
                  <c:v>1.1589595375722543</c:v>
                </c:pt>
                <c:pt idx="21">
                  <c:v>1.1589595375722543</c:v>
                </c:pt>
                <c:pt idx="22">
                  <c:v>1.1589595375722543</c:v>
                </c:pt>
                <c:pt idx="23">
                  <c:v>1.1589595375722543</c:v>
                </c:pt>
                <c:pt idx="24">
                  <c:v>1.1589595375722543</c:v>
                </c:pt>
                <c:pt idx="25">
                  <c:v>1.1589595375722543</c:v>
                </c:pt>
                <c:pt idx="26">
                  <c:v>1.1589595375722543</c:v>
                </c:pt>
                <c:pt idx="27">
                  <c:v>1.1589595375722543</c:v>
                </c:pt>
                <c:pt idx="28">
                  <c:v>1.1589595375722543</c:v>
                </c:pt>
                <c:pt idx="29">
                  <c:v>1.1590026744888275</c:v>
                </c:pt>
                <c:pt idx="30">
                  <c:v>1.1590095336698159</c:v>
                </c:pt>
                <c:pt idx="31">
                  <c:v>1.1589595375722543</c:v>
                </c:pt>
                <c:pt idx="32">
                  <c:v>1.1589595375722543</c:v>
                </c:pt>
                <c:pt idx="33">
                  <c:v>1.1589595375722543</c:v>
                </c:pt>
                <c:pt idx="34">
                  <c:v>1.1590026744888275</c:v>
                </c:pt>
                <c:pt idx="35">
                  <c:v>1.1589595375722543</c:v>
                </c:pt>
                <c:pt idx="36">
                  <c:v>1.1589663948923687</c:v>
                </c:pt>
                <c:pt idx="37">
                  <c:v>1.1589595375722543</c:v>
                </c:pt>
                <c:pt idx="38">
                  <c:v>1.1590026744888275</c:v>
                </c:pt>
                <c:pt idx="39">
                  <c:v>1.1589595375722543</c:v>
                </c:pt>
                <c:pt idx="40">
                  <c:v>1.1589595375722543</c:v>
                </c:pt>
                <c:pt idx="41">
                  <c:v>1.1589595375722543</c:v>
                </c:pt>
                <c:pt idx="42">
                  <c:v>1.1589595375722543</c:v>
                </c:pt>
                <c:pt idx="43">
                  <c:v>1.1590026744888275</c:v>
                </c:pt>
              </c:numCache>
            </c:numRef>
          </c:xVal>
          <c:yVal>
            <c:numRef>
              <c:f>Sheet1!$B$2:$B$45</c:f>
              <c:numCache>
                <c:formatCode>General</c:formatCode>
                <c:ptCount val="4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pt idx="14">
                  <c:v>0.020590651072928547</c:v>
                </c:pt>
                <c:pt idx="15">
                  <c:v>0.02049545014375223</c:v>
                </c:pt>
                <c:pt idx="16">
                  <c:v>0.016690478100784733</c:v>
                </c:pt>
                <c:pt idx="17">
                  <c:v>0.021024888980687804</c:v>
                </c:pt>
                <c:pt idx="18">
                  <c:v>0.023332406244547594</c:v>
                </c:pt>
                <c:pt idx="19">
                  <c:v>0.020418306531291158</c:v>
                </c:pt>
                <c:pt idx="20">
                  <c:v>0.025709880391578448</c:v>
                </c:pt>
                <c:pt idx="21">
                  <c:v>0.02178952214614041</c:v>
                </c:pt>
                <c:pt idx="22">
                  <c:v>0.020652201365079965</c:v>
                </c:pt>
                <c:pt idx="23">
                  <c:v>0.025243517519677173</c:v>
                </c:pt>
                <c:pt idx="24">
                  <c:v>0.02522277143891009</c:v>
                </c:pt>
                <c:pt idx="25">
                  <c:v>0.01981401720982216</c:v>
                </c:pt>
                <c:pt idx="26">
                  <c:v>0.020563278500495694</c:v>
                </c:pt>
                <c:pt idx="27">
                  <c:v>0.01574919921617031</c:v>
                </c:pt>
                <c:pt idx="28">
                  <c:v>0.018847632266627667</c:v>
                </c:pt>
                <c:pt idx="29">
                  <c:v>0.017611065285370094</c:v>
                </c:pt>
                <c:pt idx="30">
                  <c:v>0.019343975058949678</c:v>
                </c:pt>
                <c:pt idx="31">
                  <c:v>0.019675381029855398</c:v>
                </c:pt>
                <c:pt idx="32">
                  <c:v>0.02064166544004196</c:v>
                </c:pt>
                <c:pt idx="33">
                  <c:v>0.0138720352455948</c:v>
                </c:pt>
                <c:pt idx="34">
                  <c:v>0.019206660657233067</c:v>
                </c:pt>
                <c:pt idx="35">
                  <c:v>0.019490330718434028</c:v>
                </c:pt>
                <c:pt idx="36">
                  <c:v>0.021831725915422782</c:v>
                </c:pt>
                <c:pt idx="37">
                  <c:v>0.018684059867506337</c:v>
                </c:pt>
                <c:pt idx="38">
                  <c:v>0.019301790368853627</c:v>
                </c:pt>
                <c:pt idx="39">
                  <c:v>0.021457707423908852</c:v>
                </c:pt>
                <c:pt idx="40">
                  <c:v>0.02049151764948046</c:v>
                </c:pt>
                <c:pt idx="41">
                  <c:v>0.022626282056149357</c:v>
                </c:pt>
                <c:pt idx="42">
                  <c:v>0.023290245052150764</c:v>
                </c:pt>
                <c:pt idx="43">
                  <c:v>0.0238120083302818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1354499180398585</c:v>
                </c:pt>
                <c:pt idx="1">
                  <c:v>1.1700888620481407</c:v>
                </c:pt>
                <c:pt idx="2">
                  <c:v>1.1696574928824088</c:v>
                </c:pt>
                <c:pt idx="3">
                  <c:v>1.1698300405487017</c:v>
                </c:pt>
                <c:pt idx="4">
                  <c:v>1.1700888620481407</c:v>
                </c:pt>
                <c:pt idx="5">
                  <c:v>1.1682771115520663</c:v>
                </c:pt>
                <c:pt idx="6">
                  <c:v>1.1655594858079543</c:v>
                </c:pt>
                <c:pt idx="7">
                  <c:v>1.171210421879044</c:v>
                </c:pt>
                <c:pt idx="8">
                  <c:v>1.1721594340436545</c:v>
                </c:pt>
                <c:pt idx="9">
                  <c:v>1.1680614269692002</c:v>
                </c:pt>
                <c:pt idx="10">
                  <c:v>1.168111815711143</c:v>
                </c:pt>
                <c:pt idx="11">
                  <c:v>1.1675006470537486</c:v>
                </c:pt>
                <c:pt idx="12">
                  <c:v>1.172677077042533</c:v>
                </c:pt>
                <c:pt idx="13">
                  <c:v>1.181994651022345</c:v>
                </c:pt>
                <c:pt idx="14">
                  <c:v>1.1589164006556811</c:v>
                </c:pt>
                <c:pt idx="15">
                  <c:v>1.1740574583728753</c:v>
                </c:pt>
                <c:pt idx="16">
                  <c:v>1.1681477008023466</c:v>
                </c:pt>
                <c:pt idx="17">
                  <c:v>1.163359503062721</c:v>
                </c:pt>
                <c:pt idx="18">
                  <c:v>1.1775084116987318</c:v>
                </c:pt>
                <c:pt idx="19">
                  <c:v>1.163359503062721</c:v>
                </c:pt>
                <c:pt idx="20">
                  <c:v>1.1748770597877662</c:v>
                </c:pt>
                <c:pt idx="21">
                  <c:v>1.1674143732206022</c:v>
                </c:pt>
                <c:pt idx="22">
                  <c:v>1.0598740402036062</c:v>
                </c:pt>
                <c:pt idx="23">
                  <c:v>1.0539666105862562</c:v>
                </c:pt>
                <c:pt idx="24">
                  <c:v>1.0619014752825469</c:v>
                </c:pt>
                <c:pt idx="25">
                  <c:v>1.1499439220084549</c:v>
                </c:pt>
                <c:pt idx="26">
                  <c:v>1.093348287464412</c:v>
                </c:pt>
                <c:pt idx="27">
                  <c:v>1.088862048140799</c:v>
                </c:pt>
                <c:pt idx="28">
                  <c:v>1.0966266931239754</c:v>
                </c:pt>
                <c:pt idx="29">
                  <c:v>1.096712966957122</c:v>
                </c:pt>
                <c:pt idx="30">
                  <c:v>1.0868346130618582</c:v>
                </c:pt>
                <c:pt idx="31">
                  <c:v>1.09291691829868</c:v>
                </c:pt>
                <c:pt idx="32">
                  <c:v>1.1002501941161247</c:v>
                </c:pt>
                <c:pt idx="33">
                  <c:v>1.0784694361761789</c:v>
                </c:pt>
                <c:pt idx="34">
                  <c:v>1.1021482184453455</c:v>
                </c:pt>
                <c:pt idx="35">
                  <c:v>1.0951169010439132</c:v>
                </c:pt>
                <c:pt idx="36">
                  <c:v>1.0845483564834786</c:v>
                </c:pt>
                <c:pt idx="37">
                  <c:v>1.093132602881546</c:v>
                </c:pt>
                <c:pt idx="38">
                  <c:v>1.0933914243809852</c:v>
                </c:pt>
                <c:pt idx="39">
                  <c:v>1.093132602881546</c:v>
                </c:pt>
                <c:pt idx="40">
                  <c:v>1.0894659649728236</c:v>
                </c:pt>
                <c:pt idx="41">
                  <c:v>1.1024545964367372</c:v>
                </c:pt>
                <c:pt idx="42">
                  <c:v>1.099085497368648</c:v>
                </c:pt>
                <c:pt idx="43">
                  <c:v>1.095030627210767</c:v>
                </c:pt>
                <c:pt idx="44">
                  <c:v>1.0831248382365628</c:v>
                </c:pt>
                <c:pt idx="45">
                  <c:v>1.1055128979380555</c:v>
                </c:pt>
                <c:pt idx="46">
                  <c:v>1.0944698472953154</c:v>
                </c:pt>
                <c:pt idx="47">
                  <c:v>1.0914071262186178</c:v>
                </c:pt>
                <c:pt idx="48">
                  <c:v>1.0933914243809852</c:v>
                </c:pt>
                <c:pt idx="49">
                  <c:v>1.0924464000690222</c:v>
                </c:pt>
                <c:pt idx="50">
                  <c:v>1.0974504982528797</c:v>
                </c:pt>
                <c:pt idx="51">
                  <c:v>1.0838581658183073</c:v>
                </c:pt>
              </c:numCache>
            </c:numRef>
          </c:xVal>
          <c:yVal>
            <c:numRef>
              <c:f>Sheet1!$B$48:$B$99</c:f>
              <c:numCache>
                <c:formatCode>General</c:formatCode>
                <c:ptCount val="52"/>
                <c:pt idx="0">
                  <c:v>0.0259251695019957</c:v>
                </c:pt>
                <c:pt idx="1">
                  <c:v>0.023903005936488992</c:v>
                </c:pt>
                <c:pt idx="2">
                  <c:v>0.022955388879319794</c:v>
                </c:pt>
                <c:pt idx="3">
                  <c:v>0.018731735460485885</c:v>
                </c:pt>
                <c:pt idx="4">
                  <c:v>0.0266674581816263</c:v>
                </c:pt>
                <c:pt idx="5">
                  <c:v>0.021672693658663714</c:v>
                </c:pt>
                <c:pt idx="6">
                  <c:v>0.021799882381814562</c:v>
                </c:pt>
                <c:pt idx="7">
                  <c:v>0.02552690382768423</c:v>
                </c:pt>
                <c:pt idx="8">
                  <c:v>0.019777284999295527</c:v>
                </c:pt>
                <c:pt idx="9">
                  <c:v>0.021565797661763343</c:v>
                </c:pt>
                <c:pt idx="10">
                  <c:v>0.02221019567893374</c:v>
                </c:pt>
                <c:pt idx="11">
                  <c:v>0.02188106330129022</c:v>
                </c:pt>
                <c:pt idx="12">
                  <c:v>0.022285236152932493</c:v>
                </c:pt>
                <c:pt idx="13">
                  <c:v>0.021964294269728915</c:v>
                </c:pt>
                <c:pt idx="14">
                  <c:v>0.019252156987393954</c:v>
                </c:pt>
                <c:pt idx="15">
                  <c:v>0.02187589196114569</c:v>
                </c:pt>
                <c:pt idx="16">
                  <c:v>0.020518500985026125</c:v>
                </c:pt>
                <c:pt idx="17">
                  <c:v>0.02063395319179484</c:v>
                </c:pt>
                <c:pt idx="18">
                  <c:v>0.022768362019278475</c:v>
                </c:pt>
                <c:pt idx="19">
                  <c:v>0.020724092057437644</c:v>
                </c:pt>
                <c:pt idx="20">
                  <c:v>0.022396031917780456</c:v>
                </c:pt>
                <c:pt idx="21">
                  <c:v>0.025212105501342272</c:v>
                </c:pt>
                <c:pt idx="22">
                  <c:v>0.018331355175519162</c:v>
                </c:pt>
                <c:pt idx="23">
                  <c:v>0.020315798050359813</c:v>
                </c:pt>
                <c:pt idx="24">
                  <c:v>0.025330697452450132</c:v>
                </c:pt>
                <c:pt idx="25">
                  <c:v>0.02498362198914917</c:v>
                </c:pt>
                <c:pt idx="26">
                  <c:v>0.022276099641914904</c:v>
                </c:pt>
                <c:pt idx="27">
                  <c:v>0.021447869807269072</c:v>
                </c:pt>
                <c:pt idx="28">
                  <c:v>0.02281390189313604</c:v>
                </c:pt>
                <c:pt idx="29">
                  <c:v>0.021003428240774405</c:v>
                </c:pt>
                <c:pt idx="30">
                  <c:v>0.026039325397945408</c:v>
                </c:pt>
                <c:pt idx="31">
                  <c:v>0.024437106785965376</c:v>
                </c:pt>
                <c:pt idx="32">
                  <c:v>0.028829780503035654</c:v>
                </c:pt>
                <c:pt idx="33">
                  <c:v>0.022678328589794083</c:v>
                </c:pt>
                <c:pt idx="34">
                  <c:v>0.021789101211682763</c:v>
                </c:pt>
                <c:pt idx="35">
                  <c:v>0.019679948192517793</c:v>
                </c:pt>
                <c:pt idx="36">
                  <c:v>0.02218009913775936</c:v>
                </c:pt>
                <c:pt idx="37">
                  <c:v>0.02121563889450606</c:v>
                </c:pt>
                <c:pt idx="38">
                  <c:v>0.020640503572799045</c:v>
                </c:pt>
                <c:pt idx="39">
                  <c:v>0.02001029857229569</c:v>
                </c:pt>
                <c:pt idx="40">
                  <c:v>0.019914847126492184</c:v>
                </c:pt>
                <c:pt idx="41">
                  <c:v>0.020058393053501686</c:v>
                </c:pt>
                <c:pt idx="42">
                  <c:v>0.02066457255366554</c:v>
                </c:pt>
                <c:pt idx="43">
                  <c:v>0.02321485546550954</c:v>
                </c:pt>
                <c:pt idx="44">
                  <c:v>0.022391449863066532</c:v>
                </c:pt>
                <c:pt idx="45">
                  <c:v>0.02024217386236955</c:v>
                </c:pt>
                <c:pt idx="46">
                  <c:v>0.020972478647677525</c:v>
                </c:pt>
                <c:pt idx="47">
                  <c:v>0.02061536634084281</c:v>
                </c:pt>
                <c:pt idx="48">
                  <c:v>0.023025958946213836</c:v>
                </c:pt>
                <c:pt idx="49">
                  <c:v>0.01842723814273814</c:v>
                </c:pt>
                <c:pt idx="50">
                  <c:v>0.02825774476479562</c:v>
                </c:pt>
                <c:pt idx="51">
                  <c:v>0.024086822858030793</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2771174056750294</c:v>
                </c:pt>
              </c:numCache>
            </c:numRef>
          </c:xVal>
          <c:yVal>
            <c:numRef>
              <c:f>Sheet1!$B$102:$B$103</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2771174056750294</c:v>
                </c:pt>
                <c:pt idx="1">
                  <c:v>1.2771174056750294</c:v>
                </c:pt>
              </c:numCache>
            </c:numRef>
          </c:xVal>
          <c:yVal>
            <c:numRef>
              <c:f>Sheet1!$B$106:$B$107</c:f>
              <c:numCache>
                <c:formatCode>General</c:formatCode>
                <c:ptCount val="2"/>
                <c:pt idx="0">
                  <c:v>0.0226947024514692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2771174056750294</c:v>
                </c:pt>
              </c:numCache>
            </c:numRef>
          </c:xVal>
          <c:yVal>
            <c:numRef>
              <c:f>Sheet1!$B$110:$B$111</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2771174056750294</c:v>
                </c:pt>
                <c:pt idx="1">
                  <c:v>1.2771174056750294</c:v>
                </c:pt>
              </c:numCache>
            </c:numRef>
          </c:xVal>
          <c:yVal>
            <c:numRef>
              <c:f>Sheet1!$B$114:$B$115</c:f>
              <c:numCache>
                <c:formatCode>General</c:formatCode>
                <c:ptCount val="2"/>
                <c:pt idx="0">
                  <c:v>0.0226947024514692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9415631254348922</c:v>
                </c:pt>
              </c:numCache>
            </c:numRef>
          </c:xVal>
          <c:yVal>
            <c:numRef>
              <c:f>Sheet1!$B$118:$B$119</c:f>
              <c:numCache>
                <c:formatCode>General</c:formatCode>
                <c:ptCount val="2"/>
                <c:pt idx="0">
                  <c:v>0.021683246169015343</c:v>
                </c:pt>
                <c:pt idx="1">
                  <c:v>0.021683246169015343</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9415631254348922</c:v>
                </c:pt>
                <c:pt idx="1">
                  <c:v>0.9415631254348922</c:v>
                </c:pt>
              </c:numCache>
            </c:numRef>
          </c:xVal>
          <c:yVal>
            <c:numRef>
              <c:f>Sheet1!$B$122:$B$123</c:f>
              <c:numCache>
                <c:formatCode>General</c:formatCode>
                <c:ptCount val="2"/>
                <c:pt idx="0">
                  <c:v>0.0216832461690153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1354499180398585</c:v>
                </c:pt>
                <c:pt idx="1">
                  <c:v>1.1700888620481407</c:v>
                </c:pt>
                <c:pt idx="2">
                  <c:v>1.1696574928824088</c:v>
                </c:pt>
                <c:pt idx="3">
                  <c:v>1.1698300405487017</c:v>
                </c:pt>
                <c:pt idx="4">
                  <c:v>1.1700888620481407</c:v>
                </c:pt>
                <c:pt idx="5">
                  <c:v>1.1682771115520663</c:v>
                </c:pt>
                <c:pt idx="6">
                  <c:v>1.1655594858079543</c:v>
                </c:pt>
                <c:pt idx="7">
                  <c:v>1.171210421879044</c:v>
                </c:pt>
                <c:pt idx="8">
                  <c:v>1.1721594340436545</c:v>
                </c:pt>
                <c:pt idx="9">
                  <c:v>1.1680614269692002</c:v>
                </c:pt>
                <c:pt idx="10">
                  <c:v>1.168111815711143</c:v>
                </c:pt>
                <c:pt idx="11">
                  <c:v>1.1675006470537486</c:v>
                </c:pt>
                <c:pt idx="12">
                  <c:v>1.172677077042533</c:v>
                </c:pt>
                <c:pt idx="13">
                  <c:v>1.181994651022345</c:v>
                </c:pt>
                <c:pt idx="14">
                  <c:v>1.1589164006556811</c:v>
                </c:pt>
                <c:pt idx="15">
                  <c:v>1.1740574583728753</c:v>
                </c:pt>
                <c:pt idx="16">
                  <c:v>1.1681477008023466</c:v>
                </c:pt>
                <c:pt idx="17">
                  <c:v>1.163359503062721</c:v>
                </c:pt>
                <c:pt idx="18">
                  <c:v>1.1775084116987318</c:v>
                </c:pt>
                <c:pt idx="19">
                  <c:v>1.163359503062721</c:v>
                </c:pt>
                <c:pt idx="20">
                  <c:v>1.1748770597877662</c:v>
                </c:pt>
                <c:pt idx="21">
                  <c:v>1.1674143732206022</c:v>
                </c:pt>
                <c:pt idx="22">
                  <c:v>1.0598740402036062</c:v>
                </c:pt>
                <c:pt idx="23">
                  <c:v>1.0539666105862562</c:v>
                </c:pt>
                <c:pt idx="24">
                  <c:v>1.0619014752825469</c:v>
                </c:pt>
                <c:pt idx="25">
                  <c:v>1.1499439220084549</c:v>
                </c:pt>
                <c:pt idx="26">
                  <c:v>1.093348287464412</c:v>
                </c:pt>
                <c:pt idx="27">
                  <c:v>1.088862048140799</c:v>
                </c:pt>
                <c:pt idx="28">
                  <c:v>1.0966266931239754</c:v>
                </c:pt>
                <c:pt idx="29">
                  <c:v>1.096712966957122</c:v>
                </c:pt>
                <c:pt idx="30">
                  <c:v>1.0868346130618582</c:v>
                </c:pt>
                <c:pt idx="31">
                  <c:v>1.09291691829868</c:v>
                </c:pt>
                <c:pt idx="32">
                  <c:v>1.1002501941161247</c:v>
                </c:pt>
                <c:pt idx="33">
                  <c:v>1.0784694361761789</c:v>
                </c:pt>
                <c:pt idx="34">
                  <c:v>1.1021482184453455</c:v>
                </c:pt>
                <c:pt idx="35">
                  <c:v>1.0951169010439132</c:v>
                </c:pt>
                <c:pt idx="36">
                  <c:v>1.0845483564834786</c:v>
                </c:pt>
                <c:pt idx="37">
                  <c:v>1.093132602881546</c:v>
                </c:pt>
                <c:pt idx="38">
                  <c:v>1.0933914243809852</c:v>
                </c:pt>
                <c:pt idx="39">
                  <c:v>1.093132602881546</c:v>
                </c:pt>
                <c:pt idx="40">
                  <c:v>1.0894659649728236</c:v>
                </c:pt>
                <c:pt idx="41">
                  <c:v>1.1024545964367372</c:v>
                </c:pt>
                <c:pt idx="42">
                  <c:v>1.099085497368648</c:v>
                </c:pt>
                <c:pt idx="43">
                  <c:v>1.095030627210767</c:v>
                </c:pt>
                <c:pt idx="44">
                  <c:v>1.0831248382365628</c:v>
                </c:pt>
                <c:pt idx="45">
                  <c:v>1.1055128979380555</c:v>
                </c:pt>
                <c:pt idx="46">
                  <c:v>1.0944698472953154</c:v>
                </c:pt>
                <c:pt idx="47">
                  <c:v>1.0914071262186178</c:v>
                </c:pt>
                <c:pt idx="48">
                  <c:v>1.0933914243809852</c:v>
                </c:pt>
                <c:pt idx="49">
                  <c:v>1.0924464000690222</c:v>
                </c:pt>
                <c:pt idx="50">
                  <c:v>1.0974504982528797</c:v>
                </c:pt>
                <c:pt idx="51">
                  <c:v>1.0838581658183073</c:v>
                </c:pt>
                <c:pt idx="52">
                  <c:v>1.2771174056750294</c:v>
                </c:pt>
                <c:pt idx="53">
                  <c:v>1.2771174056750294</c:v>
                </c:pt>
                <c:pt idx="54">
                  <c:v>0.9415631254348922</c:v>
                </c:pt>
              </c:numCache>
            </c:numRef>
          </c:xVal>
          <c:yVal>
            <c:numRef>
              <c:f>Sheet1!$B$126:$B$180</c:f>
              <c:numCache>
                <c:formatCode>General</c:formatCode>
                <c:ptCount val="55"/>
                <c:pt idx="0">
                  <c:v>0.02226767624788301</c:v>
                </c:pt>
                <c:pt idx="1">
                  <c:v>0.022372087902264744</c:v>
                </c:pt>
                <c:pt idx="2">
                  <c:v>0.022370787632596232</c:v>
                </c:pt>
                <c:pt idx="3">
                  <c:v>0.02237130774046364</c:v>
                </c:pt>
                <c:pt idx="4">
                  <c:v>0.022372087902264744</c:v>
                </c:pt>
                <c:pt idx="5">
                  <c:v>0.022366626769656985</c:v>
                </c:pt>
                <c:pt idx="6">
                  <c:v>0.02235843507074534</c:v>
                </c:pt>
                <c:pt idx="7">
                  <c:v>0.022375468603402882</c:v>
                </c:pt>
                <c:pt idx="8">
                  <c:v>0.022378329196673617</c:v>
                </c:pt>
                <c:pt idx="9">
                  <c:v>0.022365976634822725</c:v>
                </c:pt>
                <c:pt idx="10">
                  <c:v>0.022366128520859067</c:v>
                </c:pt>
                <c:pt idx="11">
                  <c:v>0.022364286284253656</c:v>
                </c:pt>
                <c:pt idx="12">
                  <c:v>0.022379889520275833</c:v>
                </c:pt>
                <c:pt idx="13">
                  <c:v>0.022407975345115752</c:v>
                </c:pt>
                <c:pt idx="14">
                  <c:v>0.022338410917850212</c:v>
                </c:pt>
                <c:pt idx="15">
                  <c:v>0.02238405038321508</c:v>
                </c:pt>
                <c:pt idx="16">
                  <c:v>0.022366236688756428</c:v>
                </c:pt>
                <c:pt idx="17">
                  <c:v>0.022351803695435914</c:v>
                </c:pt>
                <c:pt idx="18">
                  <c:v>0.0223944525405632</c:v>
                </c:pt>
                <c:pt idx="19">
                  <c:v>0.022351803695435914</c:v>
                </c:pt>
                <c:pt idx="20">
                  <c:v>0.02238652089558526</c:v>
                </c:pt>
                <c:pt idx="21">
                  <c:v>0.022364026230319953</c:v>
                </c:pt>
                <c:pt idx="22">
                  <c:v>0.02203986900195922</c:v>
                </c:pt>
                <c:pt idx="23">
                  <c:v>0.022022062324615257</c:v>
                </c:pt>
                <c:pt idx="24">
                  <c:v>0.02204598026940124</c:v>
                </c:pt>
                <c:pt idx="25">
                  <c:v>0.022311365308745106</c:v>
                </c:pt>
                <c:pt idx="26">
                  <c:v>0.02214076992823597</c:v>
                </c:pt>
                <c:pt idx="27">
                  <c:v>0.022127247123683413</c:v>
                </c:pt>
                <c:pt idx="28">
                  <c:v>0.02215065197771668</c:v>
                </c:pt>
                <c:pt idx="29">
                  <c:v>0.022150912031650382</c:v>
                </c:pt>
                <c:pt idx="30">
                  <c:v>0.022121135856241394</c:v>
                </c:pt>
                <c:pt idx="31">
                  <c:v>0.022139469658567452</c:v>
                </c:pt>
                <c:pt idx="32">
                  <c:v>0.022161574242932205</c:v>
                </c:pt>
                <c:pt idx="33">
                  <c:v>0.022095920827814985</c:v>
                </c:pt>
                <c:pt idx="34">
                  <c:v>0.02216729542947367</c:v>
                </c:pt>
                <c:pt idx="35">
                  <c:v>0.02214610103387688</c:v>
                </c:pt>
                <c:pt idx="36">
                  <c:v>0.022114244426998268</c:v>
                </c:pt>
                <c:pt idx="37">
                  <c:v>0.022140119793401712</c:v>
                </c:pt>
                <c:pt idx="38">
                  <c:v>0.022140899955202818</c:v>
                </c:pt>
                <c:pt idx="39">
                  <c:v>0.022140119793401712</c:v>
                </c:pt>
                <c:pt idx="40">
                  <c:v>0.022129067501219336</c:v>
                </c:pt>
                <c:pt idx="41">
                  <c:v>0.022168218940102045</c:v>
                </c:pt>
                <c:pt idx="42">
                  <c:v>0.022158063514827214</c:v>
                </c:pt>
                <c:pt idx="43">
                  <c:v>0.022145840979943175</c:v>
                </c:pt>
                <c:pt idx="44">
                  <c:v>0.022109953537092168</c:v>
                </c:pt>
                <c:pt idx="45">
                  <c:v>0.022177437532888086</c:v>
                </c:pt>
                <c:pt idx="46">
                  <c:v>0.022144150629374106</c:v>
                </c:pt>
                <c:pt idx="47">
                  <c:v>0.022134918714727652</c:v>
                </c:pt>
                <c:pt idx="48">
                  <c:v>0.022140899955202818</c:v>
                </c:pt>
                <c:pt idx="49">
                  <c:v>0.022138051382457086</c:v>
                </c:pt>
                <c:pt idx="50">
                  <c:v>0.022153135161279564</c:v>
                </c:pt>
                <c:pt idx="51">
                  <c:v>0.022112163995528643</c:v>
                </c:pt>
                <c:pt idx="52">
                  <c:v>0.022694702451469227</c:v>
                </c:pt>
                <c:pt idx="53">
                  <c:v>0.022694702451469227</c:v>
                </c:pt>
                <c:pt idx="54">
                  <c:v>0.0216832461690153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595736603642784"/>
          <c:min val="0.011097628196475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pt idx="14">
                  <c:v>0.020590651072928547</c:v>
                </c:pt>
                <c:pt idx="15">
                  <c:v>0.02049545014375223</c:v>
                </c:pt>
                <c:pt idx="16">
                  <c:v>0.016690478100784733</c:v>
                </c:pt>
                <c:pt idx="17">
                  <c:v>0.021024888980687804</c:v>
                </c:pt>
                <c:pt idx="18">
                  <c:v>0.023332406244547594</c:v>
                </c:pt>
                <c:pt idx="19">
                  <c:v>0.020418306531291158</c:v>
                </c:pt>
                <c:pt idx="20">
                  <c:v>0.025709880391578448</c:v>
                </c:pt>
                <c:pt idx="21">
                  <c:v>0.02178952214614041</c:v>
                </c:pt>
                <c:pt idx="22">
                  <c:v>0.020652201365079965</c:v>
                </c:pt>
                <c:pt idx="23">
                  <c:v>0.025243517519677173</c:v>
                </c:pt>
                <c:pt idx="24">
                  <c:v>0.02522277143891009</c:v>
                </c:pt>
                <c:pt idx="25">
                  <c:v>0.01981401720982216</c:v>
                </c:pt>
                <c:pt idx="26">
                  <c:v>0.020563278500495694</c:v>
                </c:pt>
                <c:pt idx="27">
                  <c:v>0.01574919921617031</c:v>
                </c:pt>
                <c:pt idx="28">
                  <c:v>0.018847632266627667</c:v>
                </c:pt>
                <c:pt idx="29">
                  <c:v>0.017611065285370094</c:v>
                </c:pt>
                <c:pt idx="30">
                  <c:v>0.019343975058949678</c:v>
                </c:pt>
                <c:pt idx="31">
                  <c:v>0.019675381029855398</c:v>
                </c:pt>
                <c:pt idx="32">
                  <c:v>0.02064166544004196</c:v>
                </c:pt>
                <c:pt idx="33">
                  <c:v>0.0138720352455948</c:v>
                </c:pt>
                <c:pt idx="34">
                  <c:v>0.019206660657233067</c:v>
                </c:pt>
                <c:pt idx="35">
                  <c:v>0.019490330718434028</c:v>
                </c:pt>
                <c:pt idx="36">
                  <c:v>0.021831725915422782</c:v>
                </c:pt>
                <c:pt idx="37">
                  <c:v>0.018684059867506337</c:v>
                </c:pt>
                <c:pt idx="38">
                  <c:v>0.019301790368853627</c:v>
                </c:pt>
                <c:pt idx="39">
                  <c:v>0.021457707423908852</c:v>
                </c:pt>
                <c:pt idx="40">
                  <c:v>0.02049151764948046</c:v>
                </c:pt>
                <c:pt idx="41">
                  <c:v>0.022626282056149357</c:v>
                </c:pt>
                <c:pt idx="42">
                  <c:v>0.023290245052150764</c:v>
                </c:pt>
                <c:pt idx="43">
                  <c:v>0.0238120083302818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0259251695019957</c:v>
                </c:pt>
                <c:pt idx="1">
                  <c:v>0.023903005936488992</c:v>
                </c:pt>
                <c:pt idx="2">
                  <c:v>0.022955388879319794</c:v>
                </c:pt>
                <c:pt idx="3">
                  <c:v>0.018731735460485885</c:v>
                </c:pt>
                <c:pt idx="4">
                  <c:v>0.0266674581816263</c:v>
                </c:pt>
                <c:pt idx="5">
                  <c:v>0.021672693658663714</c:v>
                </c:pt>
                <c:pt idx="6">
                  <c:v>0.021799882381814562</c:v>
                </c:pt>
                <c:pt idx="7">
                  <c:v>0.02552690382768423</c:v>
                </c:pt>
                <c:pt idx="8">
                  <c:v>0.019777284999295527</c:v>
                </c:pt>
                <c:pt idx="9">
                  <c:v>0.021565797661763343</c:v>
                </c:pt>
                <c:pt idx="10">
                  <c:v>0.02221019567893374</c:v>
                </c:pt>
                <c:pt idx="11">
                  <c:v>0.02188106330129022</c:v>
                </c:pt>
                <c:pt idx="12">
                  <c:v>0.022285236152932493</c:v>
                </c:pt>
                <c:pt idx="13">
                  <c:v>0.021964294269728915</c:v>
                </c:pt>
                <c:pt idx="14">
                  <c:v>0.019252156987393954</c:v>
                </c:pt>
                <c:pt idx="15">
                  <c:v>0.02187589196114569</c:v>
                </c:pt>
                <c:pt idx="16">
                  <c:v>0.020518500985026125</c:v>
                </c:pt>
                <c:pt idx="17">
                  <c:v>0.02063395319179484</c:v>
                </c:pt>
                <c:pt idx="18">
                  <c:v>0.022768362019278475</c:v>
                </c:pt>
                <c:pt idx="19">
                  <c:v>0.020724092057437644</c:v>
                </c:pt>
                <c:pt idx="20">
                  <c:v>0.022396031917780456</c:v>
                </c:pt>
                <c:pt idx="21">
                  <c:v>0.025212105501342272</c:v>
                </c:pt>
                <c:pt idx="22">
                  <c:v>0.018331355175519162</c:v>
                </c:pt>
                <c:pt idx="23">
                  <c:v>0.020315798050359813</c:v>
                </c:pt>
                <c:pt idx="24">
                  <c:v>0.025330697452450132</c:v>
                </c:pt>
                <c:pt idx="25">
                  <c:v>0.02498362198914917</c:v>
                </c:pt>
                <c:pt idx="26">
                  <c:v>0.022276099641914904</c:v>
                </c:pt>
                <c:pt idx="27">
                  <c:v>0.021447869807269072</c:v>
                </c:pt>
                <c:pt idx="28">
                  <c:v>0.02281390189313604</c:v>
                </c:pt>
                <c:pt idx="29">
                  <c:v>0.021003428240774405</c:v>
                </c:pt>
                <c:pt idx="30">
                  <c:v>0.026039325397945408</c:v>
                </c:pt>
                <c:pt idx="31">
                  <c:v>0.024437106785965376</c:v>
                </c:pt>
                <c:pt idx="32">
                  <c:v>0.028829780503035654</c:v>
                </c:pt>
                <c:pt idx="33">
                  <c:v>0.022678328589794083</c:v>
                </c:pt>
                <c:pt idx="34">
                  <c:v>0.021789101211682763</c:v>
                </c:pt>
                <c:pt idx="35">
                  <c:v>0.019679948192517793</c:v>
                </c:pt>
                <c:pt idx="36">
                  <c:v>0.02218009913775936</c:v>
                </c:pt>
                <c:pt idx="37">
                  <c:v>0.02121563889450606</c:v>
                </c:pt>
                <c:pt idx="38">
                  <c:v>0.020640503572799045</c:v>
                </c:pt>
                <c:pt idx="39">
                  <c:v>0.02001029857229569</c:v>
                </c:pt>
                <c:pt idx="40">
                  <c:v>0.019914847126492184</c:v>
                </c:pt>
                <c:pt idx="41">
                  <c:v>0.020058393053501686</c:v>
                </c:pt>
                <c:pt idx="42">
                  <c:v>0.02066457255366554</c:v>
                </c:pt>
                <c:pt idx="43">
                  <c:v>0.02321485546550954</c:v>
                </c:pt>
                <c:pt idx="44">
                  <c:v>0.022391449863066532</c:v>
                </c:pt>
                <c:pt idx="45">
                  <c:v>0.02024217386236955</c:v>
                </c:pt>
                <c:pt idx="46">
                  <c:v>0.020972478647677525</c:v>
                </c:pt>
                <c:pt idx="47">
                  <c:v>0.02061536634084281</c:v>
                </c:pt>
                <c:pt idx="48">
                  <c:v>0.023025958946213836</c:v>
                </c:pt>
                <c:pt idx="49">
                  <c:v>0.01842723814273814</c:v>
                </c:pt>
                <c:pt idx="50">
                  <c:v>0.02825774476479562</c:v>
                </c:pt>
                <c:pt idx="51">
                  <c:v>0.024086822858030793</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9605672701705217</c:v>
                </c:pt>
              </c:numCache>
            </c:numRef>
          </c:xVal>
          <c:yVal>
            <c:numRef>
              <c:f>Sheet1!$B$102:$B$103</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9605672701705217</c:v>
                </c:pt>
                <c:pt idx="1">
                  <c:v>2.9605672701705217</c:v>
                </c:pt>
              </c:numCache>
            </c:numRef>
          </c:xVal>
          <c:yVal>
            <c:numRef>
              <c:f>Sheet1!$B$106:$B$107</c:f>
              <c:numCache>
                <c:formatCode>General</c:formatCode>
                <c:ptCount val="2"/>
                <c:pt idx="0">
                  <c:v>0.0226947024514692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9605672701705217</c:v>
                </c:pt>
              </c:numCache>
            </c:numRef>
          </c:xVal>
          <c:yVal>
            <c:numRef>
              <c:f>Sheet1!$B$110:$B$111</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9605672701705217</c:v>
                </c:pt>
                <c:pt idx="1">
                  <c:v>2.9605672701705217</c:v>
                </c:pt>
              </c:numCache>
            </c:numRef>
          </c:xVal>
          <c:yVal>
            <c:numRef>
              <c:f>Sheet1!$B$114:$B$115</c:f>
              <c:numCache>
                <c:formatCode>General</c:formatCode>
                <c:ptCount val="2"/>
                <c:pt idx="0">
                  <c:v>0.0226947024514692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1827590100541605</c:v>
                </c:pt>
              </c:numCache>
            </c:numRef>
          </c:xVal>
          <c:yVal>
            <c:numRef>
              <c:f>Sheet1!$B$118:$B$119</c:f>
              <c:numCache>
                <c:formatCode>General</c:formatCode>
                <c:ptCount val="2"/>
                <c:pt idx="0">
                  <c:v>0.021683246169015343</c:v>
                </c:pt>
                <c:pt idx="1">
                  <c:v>0.021683246169015343</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1827590100541605</c:v>
                </c:pt>
                <c:pt idx="1">
                  <c:v>2.1827590100541605</c:v>
                </c:pt>
              </c:numCache>
            </c:numRef>
          </c:xVal>
          <c:yVal>
            <c:numRef>
              <c:f>Sheet1!$B$122:$B$123</c:f>
              <c:numCache>
                <c:formatCode>General</c:formatCode>
                <c:ptCount val="2"/>
                <c:pt idx="0">
                  <c:v>0.0216832461690153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9605672701705217</c:v>
                </c:pt>
                <c:pt idx="53">
                  <c:v>2.9605672701705217</c:v>
                </c:pt>
                <c:pt idx="54">
                  <c:v>2.1827590100541605</c:v>
                </c:pt>
              </c:numCache>
            </c:numRef>
          </c:xVal>
          <c:yVal>
            <c:numRef>
              <c:f>Sheet1!$B$126:$B$180</c:f>
              <c:numCache>
                <c:formatCode>General</c:formatCode>
                <c:ptCount val="55"/>
                <c:pt idx="0">
                  <c:v>0.022267696008626207</c:v>
                </c:pt>
                <c:pt idx="1">
                  <c:v>0.022372117552656733</c:v>
                </c:pt>
                <c:pt idx="2">
                  <c:v>0.022370817159829453</c:v>
                </c:pt>
                <c:pt idx="3">
                  <c:v>0.022371337316960366</c:v>
                </c:pt>
                <c:pt idx="4">
                  <c:v>0.022372117552656733</c:v>
                </c:pt>
                <c:pt idx="5">
                  <c:v>0.02236665590278216</c:v>
                </c:pt>
                <c:pt idx="6">
                  <c:v>0.0223584634279703</c:v>
                </c:pt>
                <c:pt idx="7">
                  <c:v>0.022375498574007658</c:v>
                </c:pt>
                <c:pt idx="8">
                  <c:v>0.022378359438227673</c:v>
                </c:pt>
                <c:pt idx="9">
                  <c:v>0.02236600570636852</c:v>
                </c:pt>
                <c:pt idx="10">
                  <c:v>0.02236600570636852</c:v>
                </c:pt>
                <c:pt idx="11">
                  <c:v>0.022364315195693058</c:v>
                </c:pt>
                <c:pt idx="12">
                  <c:v>0.02237991990962041</c:v>
                </c:pt>
                <c:pt idx="13">
                  <c:v>0.02240800839468964</c:v>
                </c:pt>
                <c:pt idx="14">
                  <c:v>0.0223384373784302</c:v>
                </c:pt>
                <c:pt idx="15">
                  <c:v>0.0223840811666677</c:v>
                </c:pt>
                <c:pt idx="16">
                  <c:v>0.022366265784933975</c:v>
                </c:pt>
                <c:pt idx="17">
                  <c:v>0.022351831424551175</c:v>
                </c:pt>
                <c:pt idx="18">
                  <c:v>0.022394484309285936</c:v>
                </c:pt>
                <c:pt idx="19">
                  <c:v>0.022351831424551175</c:v>
                </c:pt>
                <c:pt idx="20">
                  <c:v>0.02238655191303953</c:v>
                </c:pt>
                <c:pt idx="21">
                  <c:v>0.0223640551171276</c:v>
                </c:pt>
                <c:pt idx="22">
                  <c:v>0.022039867185286877</c:v>
                </c:pt>
                <c:pt idx="23">
                  <c:v>0.022021921764270425</c:v>
                </c:pt>
                <c:pt idx="24">
                  <c:v>0.02204597903157509</c:v>
                </c:pt>
                <c:pt idx="25">
                  <c:v>0.02231138920762279</c:v>
                </c:pt>
                <c:pt idx="26">
                  <c:v>0.02214077766868375</c:v>
                </c:pt>
                <c:pt idx="27">
                  <c:v>0.022127253583280045</c:v>
                </c:pt>
                <c:pt idx="28">
                  <c:v>0.022150660654171074</c:v>
                </c:pt>
                <c:pt idx="29">
                  <c:v>0.02215092073273653</c:v>
                </c:pt>
                <c:pt idx="30">
                  <c:v>0.022121141736991833</c:v>
                </c:pt>
                <c:pt idx="31">
                  <c:v>0.02213947727585647</c:v>
                </c:pt>
                <c:pt idx="32">
                  <c:v>0.02216158395392022</c:v>
                </c:pt>
                <c:pt idx="33">
                  <c:v>0.022095784076859887</c:v>
                </c:pt>
                <c:pt idx="34">
                  <c:v>0.022167305682360246</c:v>
                </c:pt>
                <c:pt idx="35">
                  <c:v>0.022146109279275596</c:v>
                </c:pt>
                <c:pt idx="36">
                  <c:v>0.022114249655007252</c:v>
                </c:pt>
                <c:pt idx="37">
                  <c:v>0.02214012747227011</c:v>
                </c:pt>
                <c:pt idx="38">
                  <c:v>0.02214090770796648</c:v>
                </c:pt>
                <c:pt idx="39">
                  <c:v>0.02214012747227011</c:v>
                </c:pt>
                <c:pt idx="40">
                  <c:v>0.02212907413323824</c:v>
                </c:pt>
                <c:pt idx="41">
                  <c:v>0.022168085918056614</c:v>
                </c:pt>
                <c:pt idx="42">
                  <c:v>0.022158072893286564</c:v>
                </c:pt>
                <c:pt idx="43">
                  <c:v>0.022145849200710138</c:v>
                </c:pt>
                <c:pt idx="44">
                  <c:v>0.022109958358677233</c:v>
                </c:pt>
                <c:pt idx="45">
                  <c:v>0.022177448746413024</c:v>
                </c:pt>
                <c:pt idx="46">
                  <c:v>0.022144158690034676</c:v>
                </c:pt>
                <c:pt idx="47">
                  <c:v>0.022134925900960993</c:v>
                </c:pt>
                <c:pt idx="48">
                  <c:v>0.02214090770796648</c:v>
                </c:pt>
                <c:pt idx="49">
                  <c:v>0.022137916804463736</c:v>
                </c:pt>
                <c:pt idx="50">
                  <c:v>0.022153001361260177</c:v>
                </c:pt>
                <c:pt idx="51">
                  <c:v>0.022112169026483608</c:v>
                </c:pt>
                <c:pt idx="52">
                  <c:v>0.022694702451469227</c:v>
                </c:pt>
                <c:pt idx="53">
                  <c:v>0.022694702451469227</c:v>
                </c:pt>
                <c:pt idx="54">
                  <c:v>0.0216832461690153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595736603642784"/>
          <c:min val="0.011097628196475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227856475716065</c:v>
                </c:pt>
                <c:pt idx="1">
                  <c:v>0.5227754752592765</c:v>
                </c:pt>
                <c:pt idx="2">
                  <c:v>0.5227967074665785</c:v>
                </c:pt>
                <c:pt idx="3">
                  <c:v>0.5227847608670272</c:v>
                </c:pt>
                <c:pt idx="4">
                  <c:v>0.5228568648438261</c:v>
                </c:pt>
                <c:pt idx="5">
                  <c:v>0.5227653033428027</c:v>
                </c:pt>
                <c:pt idx="6">
                  <c:v>0.5228772161999105</c:v>
                </c:pt>
                <c:pt idx="7">
                  <c:v>0.5228254524226502</c:v>
                </c:pt>
                <c:pt idx="8">
                  <c:v>0.5228670403238362</c:v>
                </c:pt>
                <c:pt idx="9">
                  <c:v>0.5228051058530511</c:v>
                </c:pt>
                <c:pt idx="10">
                  <c:v>0.5228059933839269</c:v>
                </c:pt>
                <c:pt idx="11">
                  <c:v>0.5227551318221617</c:v>
                </c:pt>
                <c:pt idx="12">
                  <c:v>0.5228152789398922</c:v>
                </c:pt>
                <c:pt idx="13">
                  <c:v>0.5228577545102465</c:v>
                </c:pt>
                <c:pt idx="14">
                  <c:v>0.5227051636250437</c:v>
                </c:pt>
                <c:pt idx="15">
                  <c:v>0.5228365150719053</c:v>
                </c:pt>
                <c:pt idx="16">
                  <c:v>0.5228670403238362</c:v>
                </c:pt>
                <c:pt idx="17">
                  <c:v>0.5228356263013485</c:v>
                </c:pt>
                <c:pt idx="18">
                  <c:v>0.5228661503133148</c:v>
                </c:pt>
                <c:pt idx="19">
                  <c:v>0.5227754752592765</c:v>
                </c:pt>
                <c:pt idx="20">
                  <c:v>0.5228466897598567</c:v>
                </c:pt>
                <c:pt idx="21">
                  <c:v>0.522734789968286</c:v>
                </c:pt>
                <c:pt idx="22">
                  <c:v>0.5228263407799487</c:v>
                </c:pt>
                <c:pt idx="23">
                  <c:v>0.5227958202798155</c:v>
                </c:pt>
                <c:pt idx="24">
                  <c:v>0.5227856475716065</c:v>
                </c:pt>
                <c:pt idx="25">
                  <c:v>0.5227551318221617</c:v>
                </c:pt>
                <c:pt idx="26">
                  <c:v>0.5228263407799487</c:v>
                </c:pt>
                <c:pt idx="27">
                  <c:v>0.5228059933839269</c:v>
                </c:pt>
                <c:pt idx="28">
                  <c:v>0.5228568648438261</c:v>
                </c:pt>
                <c:pt idx="29">
                  <c:v>0.5228966778895744</c:v>
                </c:pt>
                <c:pt idx="30">
                  <c:v>0.5228161668839636</c:v>
                </c:pt>
                <c:pt idx="31">
                  <c:v>0.5227449606973306</c:v>
                </c:pt>
                <c:pt idx="32">
                  <c:v>0.5228466897598567</c:v>
                </c:pt>
                <c:pt idx="33">
                  <c:v>0.5228670403238362</c:v>
                </c:pt>
                <c:pt idx="34">
                  <c:v>0.5228559752466577</c:v>
                </c:pt>
                <c:pt idx="35">
                  <c:v>0.5228466897598567</c:v>
                </c:pt>
                <c:pt idx="36">
                  <c:v>0.5228475790129223</c:v>
                </c:pt>
                <c:pt idx="37">
                  <c:v>0.5228772161999105</c:v>
                </c:pt>
                <c:pt idx="38">
                  <c:v>0.5228763257760047</c:v>
                </c:pt>
                <c:pt idx="39">
                  <c:v>0.5227653033428027</c:v>
                </c:pt>
                <c:pt idx="40">
                  <c:v>0.5228365150719053</c:v>
                </c:pt>
                <c:pt idx="41">
                  <c:v>0.5227246196350053</c:v>
                </c:pt>
                <c:pt idx="42">
                  <c:v>0.5228161668839636</c:v>
                </c:pt>
                <c:pt idx="43">
                  <c:v>0.5227745889677984</c:v>
                </c:pt>
              </c:numCache>
            </c:numRef>
          </c:xVal>
          <c:yVal>
            <c:numRef>
              <c:f>Sheet1!$B$2:$B$45</c:f>
              <c:numCache>
                <c:formatCode>General</c:formatCode>
                <c:ptCount val="4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pt idx="14">
                  <c:v>0.020590651072928547</c:v>
                </c:pt>
                <c:pt idx="15">
                  <c:v>0.02049545014375223</c:v>
                </c:pt>
                <c:pt idx="16">
                  <c:v>0.016690478100784733</c:v>
                </c:pt>
                <c:pt idx="17">
                  <c:v>0.021024888980687804</c:v>
                </c:pt>
                <c:pt idx="18">
                  <c:v>0.023332406244547594</c:v>
                </c:pt>
                <c:pt idx="19">
                  <c:v>0.020418306531291158</c:v>
                </c:pt>
                <c:pt idx="20">
                  <c:v>0.025709880391578448</c:v>
                </c:pt>
                <c:pt idx="21">
                  <c:v>0.02178952214614041</c:v>
                </c:pt>
                <c:pt idx="22">
                  <c:v>0.020652201365079965</c:v>
                </c:pt>
                <c:pt idx="23">
                  <c:v>0.025243517519677173</c:v>
                </c:pt>
                <c:pt idx="24">
                  <c:v>0.02522277143891009</c:v>
                </c:pt>
                <c:pt idx="25">
                  <c:v>0.01981401720982216</c:v>
                </c:pt>
                <c:pt idx="26">
                  <c:v>0.020563278500495694</c:v>
                </c:pt>
                <c:pt idx="27">
                  <c:v>0.01574919921617031</c:v>
                </c:pt>
                <c:pt idx="28">
                  <c:v>0.018847632266627667</c:v>
                </c:pt>
                <c:pt idx="29">
                  <c:v>0.017611065285370094</c:v>
                </c:pt>
                <c:pt idx="30">
                  <c:v>0.019343975058949678</c:v>
                </c:pt>
                <c:pt idx="31">
                  <c:v>0.019675381029855398</c:v>
                </c:pt>
                <c:pt idx="32">
                  <c:v>0.02064166544004196</c:v>
                </c:pt>
                <c:pt idx="33">
                  <c:v>0.0138720352455948</c:v>
                </c:pt>
                <c:pt idx="34">
                  <c:v>0.019206660657233067</c:v>
                </c:pt>
                <c:pt idx="35">
                  <c:v>0.019490330718434028</c:v>
                </c:pt>
                <c:pt idx="36">
                  <c:v>0.021831725915422782</c:v>
                </c:pt>
                <c:pt idx="37">
                  <c:v>0.018684059867506337</c:v>
                </c:pt>
                <c:pt idx="38">
                  <c:v>0.019301790368853627</c:v>
                </c:pt>
                <c:pt idx="39">
                  <c:v>0.021457707423908852</c:v>
                </c:pt>
                <c:pt idx="40">
                  <c:v>0.02049151764948046</c:v>
                </c:pt>
                <c:pt idx="41">
                  <c:v>0.022626282056149357</c:v>
                </c:pt>
                <c:pt idx="42">
                  <c:v>0.023290245052150764</c:v>
                </c:pt>
                <c:pt idx="43">
                  <c:v>0.0238120083302818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numCache>
            </c:numRef>
          </c:xVal>
          <c:yVal>
            <c:numRef>
              <c:f>Sheet1!$B$48:$B$99</c:f>
              <c:numCache>
                <c:formatCode>General</c:formatCode>
                <c:ptCount val="52"/>
                <c:pt idx="0">
                  <c:v>0.0259251695019957</c:v>
                </c:pt>
                <c:pt idx="1">
                  <c:v>0.023903005936488992</c:v>
                </c:pt>
                <c:pt idx="2">
                  <c:v>0.022955388879319794</c:v>
                </c:pt>
                <c:pt idx="3">
                  <c:v>0.018731735460485885</c:v>
                </c:pt>
                <c:pt idx="4">
                  <c:v>0.0266674581816263</c:v>
                </c:pt>
                <c:pt idx="5">
                  <c:v>0.021672693658663714</c:v>
                </c:pt>
                <c:pt idx="6">
                  <c:v>0.021799882381814562</c:v>
                </c:pt>
                <c:pt idx="7">
                  <c:v>0.02552690382768423</c:v>
                </c:pt>
                <c:pt idx="8">
                  <c:v>0.019777284999295527</c:v>
                </c:pt>
                <c:pt idx="9">
                  <c:v>0.021565797661763343</c:v>
                </c:pt>
                <c:pt idx="10">
                  <c:v>0.02221019567893374</c:v>
                </c:pt>
                <c:pt idx="11">
                  <c:v>0.02188106330129022</c:v>
                </c:pt>
                <c:pt idx="12">
                  <c:v>0.022285236152932493</c:v>
                </c:pt>
                <c:pt idx="13">
                  <c:v>0.021964294269728915</c:v>
                </c:pt>
                <c:pt idx="14">
                  <c:v>0.019252156987393954</c:v>
                </c:pt>
                <c:pt idx="15">
                  <c:v>0.02187589196114569</c:v>
                </c:pt>
                <c:pt idx="16">
                  <c:v>0.020518500985026125</c:v>
                </c:pt>
                <c:pt idx="17">
                  <c:v>0.02063395319179484</c:v>
                </c:pt>
                <c:pt idx="18">
                  <c:v>0.022768362019278475</c:v>
                </c:pt>
                <c:pt idx="19">
                  <c:v>0.020724092057437644</c:v>
                </c:pt>
                <c:pt idx="20">
                  <c:v>0.022396031917780456</c:v>
                </c:pt>
                <c:pt idx="21">
                  <c:v>0.025212105501342272</c:v>
                </c:pt>
                <c:pt idx="22">
                  <c:v>0.018331355175519162</c:v>
                </c:pt>
                <c:pt idx="23">
                  <c:v>0.020315798050359813</c:v>
                </c:pt>
                <c:pt idx="24">
                  <c:v>0.025330697452450132</c:v>
                </c:pt>
                <c:pt idx="25">
                  <c:v>0.02498362198914917</c:v>
                </c:pt>
                <c:pt idx="26">
                  <c:v>0.022276099641914904</c:v>
                </c:pt>
                <c:pt idx="27">
                  <c:v>0.021447869807269072</c:v>
                </c:pt>
                <c:pt idx="28">
                  <c:v>0.02281390189313604</c:v>
                </c:pt>
                <c:pt idx="29">
                  <c:v>0.021003428240774405</c:v>
                </c:pt>
                <c:pt idx="30">
                  <c:v>0.026039325397945408</c:v>
                </c:pt>
                <c:pt idx="31">
                  <c:v>0.024437106785965376</c:v>
                </c:pt>
                <c:pt idx="32">
                  <c:v>0.028829780503035654</c:v>
                </c:pt>
                <c:pt idx="33">
                  <c:v>0.022678328589794083</c:v>
                </c:pt>
                <c:pt idx="34">
                  <c:v>0.021789101211682763</c:v>
                </c:pt>
                <c:pt idx="35">
                  <c:v>0.019679948192517793</c:v>
                </c:pt>
                <c:pt idx="36">
                  <c:v>0.02218009913775936</c:v>
                </c:pt>
                <c:pt idx="37">
                  <c:v>0.02121563889450606</c:v>
                </c:pt>
                <c:pt idx="38">
                  <c:v>0.020640503572799045</c:v>
                </c:pt>
                <c:pt idx="39">
                  <c:v>0.02001029857229569</c:v>
                </c:pt>
                <c:pt idx="40">
                  <c:v>0.019914847126492184</c:v>
                </c:pt>
                <c:pt idx="41">
                  <c:v>0.020058393053501686</c:v>
                </c:pt>
                <c:pt idx="42">
                  <c:v>0.02066457255366554</c:v>
                </c:pt>
                <c:pt idx="43">
                  <c:v>0.02321485546550954</c:v>
                </c:pt>
                <c:pt idx="44">
                  <c:v>0.022391449863066532</c:v>
                </c:pt>
                <c:pt idx="45">
                  <c:v>0.02024217386236955</c:v>
                </c:pt>
                <c:pt idx="46">
                  <c:v>0.020972478647677525</c:v>
                </c:pt>
                <c:pt idx="47">
                  <c:v>0.02061536634084281</c:v>
                </c:pt>
                <c:pt idx="48">
                  <c:v>0.023025958946213836</c:v>
                </c:pt>
                <c:pt idx="49">
                  <c:v>0.01842723814273814</c:v>
                </c:pt>
                <c:pt idx="50">
                  <c:v>0.02825774476479562</c:v>
                </c:pt>
                <c:pt idx="51">
                  <c:v>0.024086822858030793</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5758482558904271</c:v>
                </c:pt>
              </c:numCache>
            </c:numRef>
          </c:xVal>
          <c:yVal>
            <c:numRef>
              <c:f>Sheet1!$B$102:$B$103</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5758482558904271</c:v>
                </c:pt>
                <c:pt idx="1">
                  <c:v>0.5758482558904271</c:v>
                </c:pt>
              </c:numCache>
            </c:numRef>
          </c:xVal>
          <c:yVal>
            <c:numRef>
              <c:f>Sheet1!$B$106:$B$107</c:f>
              <c:numCache>
                <c:formatCode>General</c:formatCode>
                <c:ptCount val="2"/>
                <c:pt idx="0">
                  <c:v>0.02269470245146922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5758482558904271</c:v>
                </c:pt>
              </c:numCache>
            </c:numRef>
          </c:xVal>
          <c:yVal>
            <c:numRef>
              <c:f>Sheet1!$B$110:$B$111</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5758482558904271</c:v>
                </c:pt>
                <c:pt idx="1">
                  <c:v>0.5758482558904271</c:v>
                </c:pt>
              </c:numCache>
            </c:numRef>
          </c:xVal>
          <c:yVal>
            <c:numRef>
              <c:f>Sheet1!$B$114:$B$115</c:f>
              <c:numCache>
                <c:formatCode>General</c:formatCode>
                <c:ptCount val="2"/>
                <c:pt idx="0">
                  <c:v>0.02269470245146922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4250492318114541</c:v>
                </c:pt>
              </c:numCache>
            </c:numRef>
          </c:xVal>
          <c:yVal>
            <c:numRef>
              <c:f>Sheet1!$B$118:$B$119</c:f>
              <c:numCache>
                <c:formatCode>General</c:formatCode>
                <c:ptCount val="2"/>
                <c:pt idx="0">
                  <c:v>0.021683246169015343</c:v>
                </c:pt>
                <c:pt idx="1">
                  <c:v>0.021683246169015343</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4250492318114541</c:v>
                </c:pt>
                <c:pt idx="1">
                  <c:v>0.4250492318114541</c:v>
                </c:pt>
              </c:numCache>
            </c:numRef>
          </c:xVal>
          <c:yVal>
            <c:numRef>
              <c:f>Sheet1!$B$122:$B$123</c:f>
              <c:numCache>
                <c:formatCode>General</c:formatCode>
                <c:ptCount val="2"/>
                <c:pt idx="0">
                  <c:v>0.02168324616901534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pt idx="52">
                  <c:v>0.5758482558904271</c:v>
                </c:pt>
                <c:pt idx="53">
                  <c:v>0.5758482558904271</c:v>
                </c:pt>
                <c:pt idx="54">
                  <c:v>0.4250492318114541</c:v>
                </c:pt>
              </c:numCache>
            </c:numRef>
          </c:xVal>
          <c:yVal>
            <c:numRef>
              <c:f>Sheet1!$B$126:$B$180</c:f>
              <c:numCache>
                <c:formatCode>General</c:formatCode>
                <c:ptCount val="55"/>
                <c:pt idx="0">
                  <c:v>0.022267732297241476</c:v>
                </c:pt>
                <c:pt idx="1">
                  <c:v>0.02237274278141477</c:v>
                </c:pt>
                <c:pt idx="2">
                  <c:v>0.022371368682545818</c:v>
                </c:pt>
                <c:pt idx="3">
                  <c:v>0.022372028525977024</c:v>
                </c:pt>
                <c:pt idx="4">
                  <c:v>0.022373018387434475</c:v>
                </c:pt>
                <c:pt idx="5">
                  <c:v>0.022366779356990923</c:v>
                </c:pt>
                <c:pt idx="6">
                  <c:v>0.022358969243900344</c:v>
                </c:pt>
                <c:pt idx="7">
                  <c:v>0.022376826134057823</c:v>
                </c:pt>
                <c:pt idx="8">
                  <c:v>0.022378593822845558</c:v>
                </c:pt>
                <c:pt idx="9">
                  <c:v>0.022367227302224405</c:v>
                </c:pt>
                <c:pt idx="10">
                  <c:v>0.022366264352556186</c:v>
                </c:pt>
                <c:pt idx="11">
                  <c:v>0.022364155385253257</c:v>
                </c:pt>
                <c:pt idx="12">
                  <c:v>0.02238022894911154</c:v>
                </c:pt>
                <c:pt idx="13">
                  <c:v>0.022409254361249683</c:v>
                </c:pt>
                <c:pt idx="14">
                  <c:v>0.022338596179941838</c:v>
                </c:pt>
                <c:pt idx="15">
                  <c:v>0.02238447439476474</c:v>
                </c:pt>
                <c:pt idx="16">
                  <c:v>0.022366938031995947</c:v>
                </c:pt>
                <c:pt idx="17">
                  <c:v>0.022352312703153826</c:v>
                </c:pt>
                <c:pt idx="18">
                  <c:v>0.022394568840395195</c:v>
                </c:pt>
                <c:pt idx="19">
                  <c:v>0.02235238120173036</c:v>
                </c:pt>
                <c:pt idx="20">
                  <c:v>0.022387161651767944</c:v>
                </c:pt>
                <c:pt idx="21">
                  <c:v>0.022364994085487915</c:v>
                </c:pt>
                <c:pt idx="22">
                  <c:v>0.022038570327256465</c:v>
                </c:pt>
                <c:pt idx="23">
                  <c:v>0.02202062404613615</c:v>
                </c:pt>
                <c:pt idx="24">
                  <c:v>0.022044703592878048</c:v>
                </c:pt>
                <c:pt idx="25">
                  <c:v>0.02231172085664075</c:v>
                </c:pt>
                <c:pt idx="26">
                  <c:v>0.022140284969004182</c:v>
                </c:pt>
                <c:pt idx="27">
                  <c:v>0.022126775743768277</c:v>
                </c:pt>
                <c:pt idx="28">
                  <c:v>0.022150074824781284</c:v>
                </c:pt>
                <c:pt idx="29">
                  <c:v>0.022150787826030176</c:v>
                </c:pt>
                <c:pt idx="30">
                  <c:v>0.022120385597037086</c:v>
                </c:pt>
                <c:pt idx="31">
                  <c:v>0.022139623387892493</c:v>
                </c:pt>
                <c:pt idx="32">
                  <c:v>0.02216071365963522</c:v>
                </c:pt>
                <c:pt idx="33">
                  <c:v>0.02209525452713429</c:v>
                </c:pt>
                <c:pt idx="34">
                  <c:v>0.02216716914037022</c:v>
                </c:pt>
                <c:pt idx="35">
                  <c:v>0.022145764941660505</c:v>
                </c:pt>
                <c:pt idx="36">
                  <c:v>0.022113851919940353</c:v>
                </c:pt>
                <c:pt idx="37">
                  <c:v>0.02214034045999034</c:v>
                </c:pt>
                <c:pt idx="38">
                  <c:v>0.02214067298219114</c:v>
                </c:pt>
                <c:pt idx="39">
                  <c:v>0.022140018579263326</c:v>
                </c:pt>
                <c:pt idx="40">
                  <c:v>0.022128859544265533</c:v>
                </c:pt>
                <c:pt idx="41">
                  <c:v>0.02216717352837901</c:v>
                </c:pt>
                <c:pt idx="42">
                  <c:v>0.022157837297030088</c:v>
                </c:pt>
                <c:pt idx="43">
                  <c:v>0.02214550390592652</c:v>
                </c:pt>
                <c:pt idx="44">
                  <c:v>0.02210973607704746</c:v>
                </c:pt>
                <c:pt idx="45">
                  <c:v>0.022177610325828018</c:v>
                </c:pt>
                <c:pt idx="46">
                  <c:v>0.022144000500722072</c:v>
                </c:pt>
                <c:pt idx="47">
                  <c:v>0.022134219145000595</c:v>
                </c:pt>
                <c:pt idx="48">
                  <c:v>0.022142154387778355</c:v>
                </c:pt>
                <c:pt idx="49">
                  <c:v>0.022136963567228243</c:v>
                </c:pt>
                <c:pt idx="50">
                  <c:v>0.022152488566035893</c:v>
                </c:pt>
                <c:pt idx="51">
                  <c:v>0.022111508348107094</c:v>
                </c:pt>
                <c:pt idx="52">
                  <c:v>0.022694702451469227</c:v>
                </c:pt>
                <c:pt idx="53">
                  <c:v>0.022694702451469227</c:v>
                </c:pt>
                <c:pt idx="54">
                  <c:v>0.0216832461690153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595736603642784"/>
          <c:min val="0.011097628196475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pt idx="14">
                  <c:v>0.020590651072928547</c:v>
                </c:pt>
                <c:pt idx="15">
                  <c:v>0.02049545014375223</c:v>
                </c:pt>
                <c:pt idx="16">
                  <c:v>0.016690478100784733</c:v>
                </c:pt>
                <c:pt idx="17">
                  <c:v>0.021024888980687804</c:v>
                </c:pt>
                <c:pt idx="18">
                  <c:v>0.023332406244547594</c:v>
                </c:pt>
                <c:pt idx="19">
                  <c:v>0.020418306531291158</c:v>
                </c:pt>
                <c:pt idx="20">
                  <c:v>0.025709880391578448</c:v>
                </c:pt>
                <c:pt idx="21">
                  <c:v>0.02178952214614041</c:v>
                </c:pt>
                <c:pt idx="22">
                  <c:v>0.020652201365079965</c:v>
                </c:pt>
                <c:pt idx="23">
                  <c:v>0.025243517519677173</c:v>
                </c:pt>
                <c:pt idx="24">
                  <c:v>0.02522277143891009</c:v>
                </c:pt>
                <c:pt idx="25">
                  <c:v>0.01981401720982216</c:v>
                </c:pt>
                <c:pt idx="26">
                  <c:v>0.020563278500495694</c:v>
                </c:pt>
                <c:pt idx="27">
                  <c:v>0.01574919921617031</c:v>
                </c:pt>
                <c:pt idx="28">
                  <c:v>0.018847632266627667</c:v>
                </c:pt>
                <c:pt idx="29">
                  <c:v>0.017611065285370094</c:v>
                </c:pt>
                <c:pt idx="30">
                  <c:v>0.019343975058949678</c:v>
                </c:pt>
                <c:pt idx="31">
                  <c:v>0.019675381029855398</c:v>
                </c:pt>
                <c:pt idx="32">
                  <c:v>0.02064166544004196</c:v>
                </c:pt>
                <c:pt idx="33">
                  <c:v>0.0138720352455948</c:v>
                </c:pt>
                <c:pt idx="34">
                  <c:v>0.019206660657233067</c:v>
                </c:pt>
                <c:pt idx="35">
                  <c:v>0.019490330718434028</c:v>
                </c:pt>
                <c:pt idx="36">
                  <c:v>0.021831725915422782</c:v>
                </c:pt>
                <c:pt idx="37">
                  <c:v>0.018684059867506337</c:v>
                </c:pt>
                <c:pt idx="38">
                  <c:v>0.019301790368853627</c:v>
                </c:pt>
                <c:pt idx="39">
                  <c:v>0.021457707423908852</c:v>
                </c:pt>
                <c:pt idx="40">
                  <c:v>0.02049151764948046</c:v>
                </c:pt>
                <c:pt idx="41">
                  <c:v>0.022626282056149357</c:v>
                </c:pt>
                <c:pt idx="42">
                  <c:v>0.023290245052150764</c:v>
                </c:pt>
                <c:pt idx="43">
                  <c:v>0.0238120083302818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0259251695019957</c:v>
                </c:pt>
                <c:pt idx="1">
                  <c:v>0.023903005936488992</c:v>
                </c:pt>
                <c:pt idx="2">
                  <c:v>0.022955388879319794</c:v>
                </c:pt>
                <c:pt idx="3">
                  <c:v>0.018731735460485885</c:v>
                </c:pt>
                <c:pt idx="4">
                  <c:v>0.0266674581816263</c:v>
                </c:pt>
                <c:pt idx="5">
                  <c:v>0.021672693658663714</c:v>
                </c:pt>
                <c:pt idx="6">
                  <c:v>0.021799882381814562</c:v>
                </c:pt>
                <c:pt idx="7">
                  <c:v>0.02552690382768423</c:v>
                </c:pt>
                <c:pt idx="8">
                  <c:v>0.019777284999295527</c:v>
                </c:pt>
                <c:pt idx="9">
                  <c:v>0.021565797661763343</c:v>
                </c:pt>
                <c:pt idx="10">
                  <c:v>0.02221019567893374</c:v>
                </c:pt>
                <c:pt idx="11">
                  <c:v>0.02188106330129022</c:v>
                </c:pt>
                <c:pt idx="12">
                  <c:v>0.022285236152932493</c:v>
                </c:pt>
                <c:pt idx="13">
                  <c:v>0.021964294269728915</c:v>
                </c:pt>
                <c:pt idx="14">
                  <c:v>0.019252156987393954</c:v>
                </c:pt>
                <c:pt idx="15">
                  <c:v>0.02187589196114569</c:v>
                </c:pt>
                <c:pt idx="16">
                  <c:v>0.020518500985026125</c:v>
                </c:pt>
                <c:pt idx="17">
                  <c:v>0.02063395319179484</c:v>
                </c:pt>
                <c:pt idx="18">
                  <c:v>0.022768362019278475</c:v>
                </c:pt>
                <c:pt idx="19">
                  <c:v>0.020724092057437644</c:v>
                </c:pt>
                <c:pt idx="20">
                  <c:v>0.022396031917780456</c:v>
                </c:pt>
                <c:pt idx="21">
                  <c:v>0.025212105501342272</c:v>
                </c:pt>
                <c:pt idx="22">
                  <c:v>0.018331355175519162</c:v>
                </c:pt>
                <c:pt idx="23">
                  <c:v>0.020315798050359813</c:v>
                </c:pt>
                <c:pt idx="24">
                  <c:v>0.025330697452450132</c:v>
                </c:pt>
                <c:pt idx="25">
                  <c:v>0.02498362198914917</c:v>
                </c:pt>
                <c:pt idx="26">
                  <c:v>0.022276099641914904</c:v>
                </c:pt>
                <c:pt idx="27">
                  <c:v>0.021447869807269072</c:v>
                </c:pt>
                <c:pt idx="28">
                  <c:v>0.02281390189313604</c:v>
                </c:pt>
                <c:pt idx="29">
                  <c:v>0.021003428240774405</c:v>
                </c:pt>
                <c:pt idx="30">
                  <c:v>0.026039325397945408</c:v>
                </c:pt>
                <c:pt idx="31">
                  <c:v>0.024437106785965376</c:v>
                </c:pt>
                <c:pt idx="32">
                  <c:v>0.028829780503035654</c:v>
                </c:pt>
                <c:pt idx="33">
                  <c:v>0.022678328589794083</c:v>
                </c:pt>
                <c:pt idx="34">
                  <c:v>0.021789101211682763</c:v>
                </c:pt>
                <c:pt idx="35">
                  <c:v>0.019679948192517793</c:v>
                </c:pt>
                <c:pt idx="36">
                  <c:v>0.02218009913775936</c:v>
                </c:pt>
                <c:pt idx="37">
                  <c:v>0.02121563889450606</c:v>
                </c:pt>
                <c:pt idx="38">
                  <c:v>0.020640503572799045</c:v>
                </c:pt>
                <c:pt idx="39">
                  <c:v>0.02001029857229569</c:v>
                </c:pt>
                <c:pt idx="40">
                  <c:v>0.019914847126492184</c:v>
                </c:pt>
                <c:pt idx="41">
                  <c:v>0.020058393053501686</c:v>
                </c:pt>
                <c:pt idx="42">
                  <c:v>0.02066457255366554</c:v>
                </c:pt>
                <c:pt idx="43">
                  <c:v>0.02321485546550954</c:v>
                </c:pt>
                <c:pt idx="44">
                  <c:v>0.022391449863066532</c:v>
                </c:pt>
                <c:pt idx="45">
                  <c:v>0.02024217386236955</c:v>
                </c:pt>
                <c:pt idx="46">
                  <c:v>0.020972478647677525</c:v>
                </c:pt>
                <c:pt idx="47">
                  <c:v>0.02061536634084281</c:v>
                </c:pt>
                <c:pt idx="48">
                  <c:v>0.023025958946213836</c:v>
                </c:pt>
                <c:pt idx="49">
                  <c:v>0.01842723814273814</c:v>
                </c:pt>
                <c:pt idx="50">
                  <c:v>0.02825774476479562</c:v>
                </c:pt>
                <c:pt idx="51">
                  <c:v>0.024086822858030793</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9605672701705217</c:v>
                </c:pt>
              </c:numCache>
            </c:numRef>
          </c:xVal>
          <c:yVal>
            <c:numRef>
              <c:f>Sheet1!$B$102:$B$103</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9605672701705217</c:v>
                </c:pt>
                <c:pt idx="1">
                  <c:v>2.9605672701705217</c:v>
                </c:pt>
              </c:numCache>
            </c:numRef>
          </c:xVal>
          <c:yVal>
            <c:numRef>
              <c:f>Sheet1!$B$106:$B$107</c:f>
              <c:numCache>
                <c:formatCode>General</c:formatCode>
                <c:ptCount val="2"/>
                <c:pt idx="0">
                  <c:v>0.02269470245146922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9605672701705217</c:v>
                </c:pt>
              </c:numCache>
            </c:numRef>
          </c:xVal>
          <c:yVal>
            <c:numRef>
              <c:f>Sheet1!$B$110:$B$111</c:f>
              <c:numCache>
                <c:formatCode>General</c:formatCode>
                <c:ptCount val="2"/>
                <c:pt idx="0">
                  <c:v>0.022694702451469227</c:v>
                </c:pt>
                <c:pt idx="1">
                  <c:v>0.022694702451469227</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9605672701705217</c:v>
                </c:pt>
                <c:pt idx="1">
                  <c:v>2.9605672701705217</c:v>
                </c:pt>
              </c:numCache>
            </c:numRef>
          </c:xVal>
          <c:yVal>
            <c:numRef>
              <c:f>Sheet1!$B$114:$B$115</c:f>
              <c:numCache>
                <c:formatCode>General</c:formatCode>
                <c:ptCount val="2"/>
                <c:pt idx="0">
                  <c:v>0.02269470245146922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1827590100541605</c:v>
                </c:pt>
              </c:numCache>
            </c:numRef>
          </c:xVal>
          <c:yVal>
            <c:numRef>
              <c:f>Sheet1!$B$118:$B$119</c:f>
              <c:numCache>
                <c:formatCode>General</c:formatCode>
                <c:ptCount val="2"/>
                <c:pt idx="0">
                  <c:v>0.021683246169015343</c:v>
                </c:pt>
                <c:pt idx="1">
                  <c:v>0.021683246169015343</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1827590100541605</c:v>
                </c:pt>
                <c:pt idx="1">
                  <c:v>2.1827590100541605</c:v>
                </c:pt>
              </c:numCache>
            </c:numRef>
          </c:xVal>
          <c:yVal>
            <c:numRef>
              <c:f>Sheet1!$B$122:$B$123</c:f>
              <c:numCache>
                <c:formatCode>General</c:formatCode>
                <c:ptCount val="2"/>
                <c:pt idx="0">
                  <c:v>0.02168324616901534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9605672701705217</c:v>
                </c:pt>
                <c:pt idx="53">
                  <c:v>2.9605672701705217</c:v>
                </c:pt>
                <c:pt idx="54">
                  <c:v>2.1827590100541605</c:v>
                </c:pt>
              </c:numCache>
            </c:numRef>
          </c:xVal>
          <c:yVal>
            <c:numRef>
              <c:f>Sheet1!$B$126:$B$180</c:f>
              <c:numCache>
                <c:formatCode>General</c:formatCode>
                <c:ptCount val="55"/>
                <c:pt idx="0">
                  <c:v>0.022267696008626207</c:v>
                </c:pt>
                <c:pt idx="1">
                  <c:v>0.022372117552656733</c:v>
                </c:pt>
                <c:pt idx="2">
                  <c:v>0.022370817159829453</c:v>
                </c:pt>
                <c:pt idx="3">
                  <c:v>0.022371337316960366</c:v>
                </c:pt>
                <c:pt idx="4">
                  <c:v>0.022372117552656733</c:v>
                </c:pt>
                <c:pt idx="5">
                  <c:v>0.02236665590278216</c:v>
                </c:pt>
                <c:pt idx="6">
                  <c:v>0.0223584634279703</c:v>
                </c:pt>
                <c:pt idx="7">
                  <c:v>0.022375498574007658</c:v>
                </c:pt>
                <c:pt idx="8">
                  <c:v>0.022378359438227673</c:v>
                </c:pt>
                <c:pt idx="9">
                  <c:v>0.02236600570636852</c:v>
                </c:pt>
                <c:pt idx="10">
                  <c:v>0.02236600570636852</c:v>
                </c:pt>
                <c:pt idx="11">
                  <c:v>0.022364315195693058</c:v>
                </c:pt>
                <c:pt idx="12">
                  <c:v>0.02237991990962041</c:v>
                </c:pt>
                <c:pt idx="13">
                  <c:v>0.02240800839468964</c:v>
                </c:pt>
                <c:pt idx="14">
                  <c:v>0.0223384373784302</c:v>
                </c:pt>
                <c:pt idx="15">
                  <c:v>0.0223840811666677</c:v>
                </c:pt>
                <c:pt idx="16">
                  <c:v>0.022366265784933975</c:v>
                </c:pt>
                <c:pt idx="17">
                  <c:v>0.022351831424551175</c:v>
                </c:pt>
                <c:pt idx="18">
                  <c:v>0.022394484309285936</c:v>
                </c:pt>
                <c:pt idx="19">
                  <c:v>0.022351831424551175</c:v>
                </c:pt>
                <c:pt idx="20">
                  <c:v>0.02238655191303953</c:v>
                </c:pt>
                <c:pt idx="21">
                  <c:v>0.0223640551171276</c:v>
                </c:pt>
                <c:pt idx="22">
                  <c:v>0.022039867185286877</c:v>
                </c:pt>
                <c:pt idx="23">
                  <c:v>0.022021921764270425</c:v>
                </c:pt>
                <c:pt idx="24">
                  <c:v>0.02204597903157509</c:v>
                </c:pt>
                <c:pt idx="25">
                  <c:v>0.02231138920762279</c:v>
                </c:pt>
                <c:pt idx="26">
                  <c:v>0.02214077766868375</c:v>
                </c:pt>
                <c:pt idx="27">
                  <c:v>0.022127253583280045</c:v>
                </c:pt>
                <c:pt idx="28">
                  <c:v>0.022150660654171074</c:v>
                </c:pt>
                <c:pt idx="29">
                  <c:v>0.02215092073273653</c:v>
                </c:pt>
                <c:pt idx="30">
                  <c:v>0.022121141736991833</c:v>
                </c:pt>
                <c:pt idx="31">
                  <c:v>0.02213947727585647</c:v>
                </c:pt>
                <c:pt idx="32">
                  <c:v>0.02216158395392022</c:v>
                </c:pt>
                <c:pt idx="33">
                  <c:v>0.022095784076859887</c:v>
                </c:pt>
                <c:pt idx="34">
                  <c:v>0.022167305682360246</c:v>
                </c:pt>
                <c:pt idx="35">
                  <c:v>0.022146109279275596</c:v>
                </c:pt>
                <c:pt idx="36">
                  <c:v>0.022114249655007252</c:v>
                </c:pt>
                <c:pt idx="37">
                  <c:v>0.02214012747227011</c:v>
                </c:pt>
                <c:pt idx="38">
                  <c:v>0.02214090770796648</c:v>
                </c:pt>
                <c:pt idx="39">
                  <c:v>0.02214012747227011</c:v>
                </c:pt>
                <c:pt idx="40">
                  <c:v>0.02212907413323824</c:v>
                </c:pt>
                <c:pt idx="41">
                  <c:v>0.022168085918056614</c:v>
                </c:pt>
                <c:pt idx="42">
                  <c:v>0.022158072893286564</c:v>
                </c:pt>
                <c:pt idx="43">
                  <c:v>0.022145849200710138</c:v>
                </c:pt>
                <c:pt idx="44">
                  <c:v>0.022109958358677233</c:v>
                </c:pt>
                <c:pt idx="45">
                  <c:v>0.022177448746413024</c:v>
                </c:pt>
                <c:pt idx="46">
                  <c:v>0.022144158690034676</c:v>
                </c:pt>
                <c:pt idx="47">
                  <c:v>0.022134925900960993</c:v>
                </c:pt>
                <c:pt idx="48">
                  <c:v>0.02214090770796648</c:v>
                </c:pt>
                <c:pt idx="49">
                  <c:v>0.022137916804463736</c:v>
                </c:pt>
                <c:pt idx="50">
                  <c:v>0.022153001361260177</c:v>
                </c:pt>
                <c:pt idx="51">
                  <c:v>0.022112169026483608</c:v>
                </c:pt>
                <c:pt idx="52">
                  <c:v>0.022694702451469227</c:v>
                </c:pt>
                <c:pt idx="53">
                  <c:v>0.022694702451469227</c:v>
                </c:pt>
                <c:pt idx="54">
                  <c:v>0.02168324616901534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4595736603642784"/>
          <c:min val="0.011097628196475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1077804807652663</c:v>
                </c:pt>
                <c:pt idx="1">
                  <c:v>1.107871840336481</c:v>
                </c:pt>
                <c:pt idx="2">
                  <c:v>1.107876288659794</c:v>
                </c:pt>
                <c:pt idx="3">
                  <c:v>1.107958762886598</c:v>
                </c:pt>
                <c:pt idx="4">
                  <c:v>1.1078261586673266</c:v>
                </c:pt>
                <c:pt idx="5">
                  <c:v>1.107871840336481</c:v>
                </c:pt>
                <c:pt idx="6">
                  <c:v>1.1078261586673266</c:v>
                </c:pt>
                <c:pt idx="7">
                  <c:v>1.10786739238001</c:v>
                </c:pt>
                <c:pt idx="8">
                  <c:v>1.107917525773196</c:v>
                </c:pt>
                <c:pt idx="9">
                  <c:v>1.107958762886598</c:v>
                </c:pt>
                <c:pt idx="10">
                  <c:v>1.1079632149779373</c:v>
                </c:pt>
                <c:pt idx="11">
                  <c:v>1.107917525773196</c:v>
                </c:pt>
                <c:pt idx="12">
                  <c:v>1.10786739238001</c:v>
                </c:pt>
                <c:pt idx="13">
                  <c:v>1.1077392487527316</c:v>
                </c:pt>
              </c:numCache>
            </c:numRef>
          </c:xVal>
          <c:yVal>
            <c:numRef>
              <c:f>Sheet1!$B$2:$B$15</c:f>
              <c:numCache>
                <c:formatCode>General</c:formatCode>
                <c:ptCount val="1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20659696464331873</c:v>
                </c:pt>
              </c:numCache>
            </c:numRef>
          </c:xVal>
          <c:yVal>
            <c:numRef>
              <c:f>Sheet1!$B$20:$B$21</c:f>
              <c:numCache>
                <c:formatCode>General</c:formatCode>
                <c:ptCount val="2"/>
                <c:pt idx="0">
                  <c:v>0.020659696464331873</c:v>
                </c:pt>
                <c:pt idx="1">
                  <c:v>0.020659696464331873</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20659696464331873</c:v>
                </c:pt>
                <c:pt idx="1">
                  <c:v>0.020659696464331873</c:v>
                </c:pt>
              </c:numCache>
            </c:numRef>
          </c:xVal>
          <c:yVal>
            <c:numRef>
              <c:f>Sheet1!$B$24:$B$25</c:f>
              <c:numCache>
                <c:formatCode>General</c:formatCode>
                <c:ptCount val="2"/>
                <c:pt idx="0">
                  <c:v>0.0206596964643318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20659696464331873</c:v>
                </c:pt>
                <c:pt idx="2">
                  <c:v>0</c:v>
                </c:pt>
              </c:numCache>
            </c:numRef>
          </c:xVal>
          <c:yVal>
            <c:numRef>
              <c:f>Sheet1!$B$28:$B$30</c:f>
              <c:numCache>
                <c:formatCode>General</c:formatCode>
                <c:ptCount val="3"/>
                <c:pt idx="0">
                  <c:v>0</c:v>
                </c:pt>
                <c:pt idx="1">
                  <c:v>0.020659696464331873</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952622978867679"/>
          <c:min val="0.01432409998193673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362702366127023</c:v>
                </c:pt>
                <c:pt idx="1">
                  <c:v>0.5308115891269239</c:v>
                </c:pt>
                <c:pt idx="2">
                  <c:v>0.5314756076203079</c:v>
                </c:pt>
                <c:pt idx="3">
                  <c:v>0.5336031443359147</c:v>
                </c:pt>
                <c:pt idx="4">
                  <c:v>0.5323732606791866</c:v>
                </c:pt>
                <c:pt idx="5">
                  <c:v>0.5332139938514223</c:v>
                </c:pt>
                <c:pt idx="6">
                  <c:v>0.5330556798941284</c:v>
                </c:pt>
                <c:pt idx="7">
                  <c:v>0.5329052344814166</c:v>
                </c:pt>
                <c:pt idx="8">
                  <c:v>0.5376770979293165</c:v>
                </c:pt>
                <c:pt idx="9">
                  <c:v>0.535355697384807</c:v>
                </c:pt>
                <c:pt idx="10">
                  <c:v>0.5323603813971589</c:v>
                </c:pt>
                <c:pt idx="11">
                  <c:v>0.5362583908940558</c:v>
                </c:pt>
                <c:pt idx="12">
                  <c:v>0.5383043723609192</c:v>
                </c:pt>
                <c:pt idx="13">
                  <c:v>0.5360722417920324</c:v>
                </c:pt>
                <c:pt idx="14">
                  <c:v>0.5359741624187712</c:v>
                </c:pt>
                <c:pt idx="15">
                  <c:v>0.535835911806488</c:v>
                </c:pt>
                <c:pt idx="16">
                  <c:v>0.536373190098085</c:v>
                </c:pt>
                <c:pt idx="17">
                  <c:v>0.5369437039055052</c:v>
                </c:pt>
                <c:pt idx="18">
                  <c:v>0.5360993266648503</c:v>
                </c:pt>
                <c:pt idx="19">
                  <c:v>0.5360846807931041</c:v>
                </c:pt>
                <c:pt idx="20">
                  <c:v>0.5356906550422293</c:v>
                </c:pt>
                <c:pt idx="21">
                  <c:v>0.5361013288713349</c:v>
                </c:pt>
                <c:pt idx="22">
                  <c:v>0.5358254845489219</c:v>
                </c:pt>
                <c:pt idx="23">
                  <c:v>0.5358720398513358</c:v>
                </c:pt>
                <c:pt idx="24">
                  <c:v>0.5354335305105853</c:v>
                </c:pt>
                <c:pt idx="25">
                  <c:v>0.5354995622142232</c:v>
                </c:pt>
                <c:pt idx="26">
                  <c:v>0.5358644041410446</c:v>
                </c:pt>
                <c:pt idx="27">
                  <c:v>0.5373029772329246</c:v>
                </c:pt>
                <c:pt idx="28">
                  <c:v>0.5352145567772697</c:v>
                </c:pt>
                <c:pt idx="29">
                  <c:v>0.5357219313780822</c:v>
                </c:pt>
                <c:pt idx="30">
                  <c:v>0.5349199244974606</c:v>
                </c:pt>
                <c:pt idx="31">
                  <c:v>0.5359755623005682</c:v>
                </c:pt>
                <c:pt idx="32">
                  <c:v>0.5359436422371852</c:v>
                </c:pt>
                <c:pt idx="33">
                  <c:v>0.5360618091234626</c:v>
                </c:pt>
                <c:pt idx="34">
                  <c:v>0.5360110533792594</c:v>
                </c:pt>
                <c:pt idx="35">
                  <c:v>0.5315455571556454</c:v>
                </c:pt>
                <c:pt idx="36">
                  <c:v>0.4866106180912346</c:v>
                </c:pt>
                <c:pt idx="37">
                  <c:v>0.48689255201136555</c:v>
                </c:pt>
                <c:pt idx="38">
                  <c:v>0.5014693003794882</c:v>
                </c:pt>
                <c:pt idx="39">
                  <c:v>0.5359380472428688</c:v>
                </c:pt>
                <c:pt idx="40">
                  <c:v>0.5354856286609454</c:v>
                </c:pt>
                <c:pt idx="41">
                  <c:v>0.5353321140900424</c:v>
                </c:pt>
                <c:pt idx="42">
                  <c:v>0.5356788417754773</c:v>
                </c:pt>
                <c:pt idx="43">
                  <c:v>0.5369977624282518</c:v>
                </c:pt>
              </c:numCache>
            </c:numRef>
          </c:xVal>
          <c:yVal>
            <c:numRef>
              <c:f>Sheet1!$B$2:$B$45</c:f>
              <c:numCache>
                <c:formatCode>General</c:formatCode>
                <c:ptCount val="4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pt idx="14">
                  <c:v>0.057572850401870185</c:v>
                </c:pt>
                <c:pt idx="15">
                  <c:v>0.056338675407381536</c:v>
                </c:pt>
                <c:pt idx="16">
                  <c:v>0.05630465870315221</c:v>
                </c:pt>
                <c:pt idx="17">
                  <c:v>0.049812661365279357</c:v>
                </c:pt>
                <c:pt idx="18">
                  <c:v>0.05861562035195975</c:v>
                </c:pt>
                <c:pt idx="19">
                  <c:v>0.0558006200260311</c:v>
                </c:pt>
                <c:pt idx="20">
                  <c:v>0.06609229484150034</c:v>
                </c:pt>
                <c:pt idx="21">
                  <c:v>0.05335900789967919</c:v>
                </c:pt>
                <c:pt idx="22">
                  <c:v>0.049816421368994626</c:v>
                </c:pt>
                <c:pt idx="23">
                  <c:v>0.053632186663470374</c:v>
                </c:pt>
                <c:pt idx="24">
                  <c:v>0.04960329838984244</c:v>
                </c:pt>
                <c:pt idx="25">
                  <c:v>0.05742476467081583</c:v>
                </c:pt>
                <c:pt idx="26">
                  <c:v>0.0478791868812661</c:v>
                </c:pt>
                <c:pt idx="27">
                  <c:v>0.061010188704603265</c:v>
                </c:pt>
                <c:pt idx="28">
                  <c:v>0.05149382024487228</c:v>
                </c:pt>
                <c:pt idx="29">
                  <c:v>0.05399825706842638</c:v>
                </c:pt>
                <c:pt idx="30">
                  <c:v>0.055580509701812726</c:v>
                </c:pt>
                <c:pt idx="31">
                  <c:v>0.05884877561700888</c:v>
                </c:pt>
                <c:pt idx="32">
                  <c:v>0.05863814023271748</c:v>
                </c:pt>
                <c:pt idx="33">
                  <c:v>0.042450568864485186</c:v>
                </c:pt>
                <c:pt idx="34">
                  <c:v>0.05058881021953254</c:v>
                </c:pt>
                <c:pt idx="35">
                  <c:v>0.060389334448544045</c:v>
                </c:pt>
                <c:pt idx="36">
                  <c:v>0.06833008977689702</c:v>
                </c:pt>
                <c:pt idx="37">
                  <c:v>0.04595635342547913</c:v>
                </c:pt>
                <c:pt idx="38">
                  <c:v>0.06154357286670051</c:v>
                </c:pt>
                <c:pt idx="39">
                  <c:v>0.0477779216718552</c:v>
                </c:pt>
                <c:pt idx="40">
                  <c:v>0.053430623335661856</c:v>
                </c:pt>
                <c:pt idx="41">
                  <c:v>0.04833532016707964</c:v>
                </c:pt>
                <c:pt idx="42">
                  <c:v>0.056232910038156315</c:v>
                </c:pt>
                <c:pt idx="43">
                  <c:v>0.05910060529249901</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306960362709424</c:v>
                </c:pt>
                <c:pt idx="1">
                  <c:v>0.5382774188526503</c:v>
                </c:pt>
                <c:pt idx="2">
                  <c:v>0.5387339703049291</c:v>
                </c:pt>
                <c:pt idx="3">
                  <c:v>0.539416583960924</c:v>
                </c:pt>
                <c:pt idx="4">
                  <c:v>0.5382220146349058</c:v>
                </c:pt>
                <c:pt idx="5">
                  <c:v>0.5400525342932192</c:v>
                </c:pt>
                <c:pt idx="6">
                  <c:v>0.5372745140010509</c:v>
                </c:pt>
                <c:pt idx="7">
                  <c:v>0.5375647164155863</c:v>
                </c:pt>
                <c:pt idx="8">
                  <c:v>0.49641981554267034</c:v>
                </c:pt>
                <c:pt idx="9">
                  <c:v>0.4459020222269799</c:v>
                </c:pt>
                <c:pt idx="10">
                  <c:v>0.4437763897807094</c:v>
                </c:pt>
                <c:pt idx="11">
                  <c:v>0.49183836261405867</c:v>
                </c:pt>
                <c:pt idx="12">
                  <c:v>0.5396260191076605</c:v>
                </c:pt>
                <c:pt idx="13">
                  <c:v>0.5386816138261225</c:v>
                </c:pt>
                <c:pt idx="14">
                  <c:v>0.4908839725254412</c:v>
                </c:pt>
                <c:pt idx="15">
                  <c:v>0.4454195205479452</c:v>
                </c:pt>
                <c:pt idx="16">
                  <c:v>0.4446455329168856</c:v>
                </c:pt>
                <c:pt idx="17">
                  <c:v>0.4741676234213548</c:v>
                </c:pt>
                <c:pt idx="18">
                  <c:v>0.538941961593089</c:v>
                </c:pt>
                <c:pt idx="19">
                  <c:v>0.5393087880439013</c:v>
                </c:pt>
                <c:pt idx="20">
                  <c:v>0.5376247835139816</c:v>
                </c:pt>
                <c:pt idx="21">
                  <c:v>0.5398672712764923</c:v>
                </c:pt>
                <c:pt idx="22">
                  <c:v>0.5350882312885465</c:v>
                </c:pt>
                <c:pt idx="23">
                  <c:v>0.48194482275574924</c:v>
                </c:pt>
                <c:pt idx="24">
                  <c:v>0.4443471662872819</c:v>
                </c:pt>
                <c:pt idx="25">
                  <c:v>0.4445503901613186</c:v>
                </c:pt>
                <c:pt idx="26">
                  <c:v>0.46655121419676215</c:v>
                </c:pt>
                <c:pt idx="27">
                  <c:v>0.515168025529762</c:v>
                </c:pt>
                <c:pt idx="28">
                  <c:v>0.5141456201112969</c:v>
                </c:pt>
                <c:pt idx="29">
                  <c:v>0.5230894973436861</c:v>
                </c:pt>
                <c:pt idx="30">
                  <c:v>0.5227356746765249</c:v>
                </c:pt>
                <c:pt idx="31">
                  <c:v>0.5220310614612121</c:v>
                </c:pt>
                <c:pt idx="32">
                  <c:v>0.5242514445806339</c:v>
                </c:pt>
                <c:pt idx="33">
                  <c:v>0.522533566841798</c:v>
                </c:pt>
                <c:pt idx="34">
                  <c:v>0.5236436522145248</c:v>
                </c:pt>
                <c:pt idx="35">
                  <c:v>0.5224362716481805</c:v>
                </c:pt>
                <c:pt idx="36">
                  <c:v>0.5215123859191656</c:v>
                </c:pt>
                <c:pt idx="37">
                  <c:v>0.5249605885444035</c:v>
                </c:pt>
                <c:pt idx="38">
                  <c:v>0.4620144780882697</c:v>
                </c:pt>
                <c:pt idx="39">
                  <c:v>0.4332697621920367</c:v>
                </c:pt>
                <c:pt idx="40">
                  <c:v>0.43059528674567493</c:v>
                </c:pt>
                <c:pt idx="41">
                  <c:v>0.4715369649805448</c:v>
                </c:pt>
                <c:pt idx="42">
                  <c:v>0.5226410321274981</c:v>
                </c:pt>
                <c:pt idx="43">
                  <c:v>0.5261140299669196</c:v>
                </c:pt>
                <c:pt idx="44">
                  <c:v>0.47571322928424087</c:v>
                </c:pt>
                <c:pt idx="45">
                  <c:v>0.4314961855830609</c:v>
                </c:pt>
                <c:pt idx="46">
                  <c:v>0.4314320742600269</c:v>
                </c:pt>
                <c:pt idx="47">
                  <c:v>0.4808055258293608</c:v>
                </c:pt>
                <c:pt idx="48">
                  <c:v>0.5233135403484863</c:v>
                </c:pt>
                <c:pt idx="49">
                  <c:v>0.5246405572092843</c:v>
                </c:pt>
                <c:pt idx="50">
                  <c:v>0.5235343334695386</c:v>
                </c:pt>
                <c:pt idx="51">
                  <c:v>0.5232424649271301</c:v>
                </c:pt>
              </c:numCache>
            </c:numRef>
          </c:xVal>
          <c:yVal>
            <c:numRef>
              <c:f>Sheet1!$B$48:$B$99</c:f>
              <c:numCache>
                <c:formatCode>General</c:formatCode>
                <c:ptCount val="52"/>
                <c:pt idx="0">
                  <c:v>0.055234075385208886</c:v>
                </c:pt>
                <c:pt idx="1">
                  <c:v>0.06654972484039293</c:v>
                </c:pt>
                <c:pt idx="2">
                  <c:v>0.059293829262355637</c:v>
                </c:pt>
                <c:pt idx="3">
                  <c:v>0.04675931151831366</c:v>
                </c:pt>
                <c:pt idx="4">
                  <c:v>0.06762909022684233</c:v>
                </c:pt>
                <c:pt idx="5">
                  <c:v>0.057812327892362216</c:v>
                </c:pt>
                <c:pt idx="6">
                  <c:v>0.05498129222562317</c:v>
                </c:pt>
                <c:pt idx="7">
                  <c:v>0.05153836130134507</c:v>
                </c:pt>
                <c:pt idx="8">
                  <c:v>0.053642759858496133</c:v>
                </c:pt>
                <c:pt idx="9">
                  <c:v>0.0769049478994267</c:v>
                </c:pt>
                <c:pt idx="10">
                  <c:v>0.06122713188165881</c:v>
                </c:pt>
                <c:pt idx="11">
                  <c:v>0.0565800517175177</c:v>
                </c:pt>
                <c:pt idx="12">
                  <c:v>0.05688256555673173</c:v>
                </c:pt>
                <c:pt idx="13">
                  <c:v>0.047406534634842276</c:v>
                </c:pt>
                <c:pt idx="14">
                  <c:v>0.05715811790766488</c:v>
                </c:pt>
                <c:pt idx="15">
                  <c:v>0.0634462860190862</c:v>
                </c:pt>
                <c:pt idx="16">
                  <c:v>0.05451299766010065</c:v>
                </c:pt>
                <c:pt idx="17">
                  <c:v>0.06955707169309898</c:v>
                </c:pt>
                <c:pt idx="18">
                  <c:v>0.052698064622372295</c:v>
                </c:pt>
                <c:pt idx="19">
                  <c:v>0.056430349718169875</c:v>
                </c:pt>
                <c:pt idx="20">
                  <c:v>0.04894151269394723</c:v>
                </c:pt>
                <c:pt idx="21">
                  <c:v>0.05155833285734999</c:v>
                </c:pt>
                <c:pt idx="22">
                  <c:v>0.0745768691673905</c:v>
                </c:pt>
                <c:pt idx="23">
                  <c:v>0.05851764622685744</c:v>
                </c:pt>
                <c:pt idx="24">
                  <c:v>0.06721224324974745</c:v>
                </c:pt>
                <c:pt idx="25">
                  <c:v>0.0685390120460053</c:v>
                </c:pt>
                <c:pt idx="26">
                  <c:v>0.060285593512683595</c:v>
                </c:pt>
                <c:pt idx="27">
                  <c:v>0.0565956324119252</c:v>
                </c:pt>
                <c:pt idx="28">
                  <c:v>0.040008014308472686</c:v>
                </c:pt>
                <c:pt idx="29">
                  <c:v>0.06533634493965179</c:v>
                </c:pt>
                <c:pt idx="30">
                  <c:v>0.0515726786030211</c:v>
                </c:pt>
                <c:pt idx="31">
                  <c:v>0.05675351676811864</c:v>
                </c:pt>
                <c:pt idx="32">
                  <c:v>0.06476613857917965</c:v>
                </c:pt>
                <c:pt idx="33">
                  <c:v>0.05339862821303569</c:v>
                </c:pt>
                <c:pt idx="34">
                  <c:v>0.05354227268462044</c:v>
                </c:pt>
                <c:pt idx="35">
                  <c:v>0.049819410635811114</c:v>
                </c:pt>
                <c:pt idx="36">
                  <c:v>0.06880576330201779</c:v>
                </c:pt>
                <c:pt idx="37">
                  <c:v>0.03693554868980487</c:v>
                </c:pt>
                <c:pt idx="38">
                  <c:v>0.0851160296441133</c:v>
                </c:pt>
                <c:pt idx="39">
                  <c:v>0.06672036499521031</c:v>
                </c:pt>
                <c:pt idx="40">
                  <c:v>0.05400812968943301</c:v>
                </c:pt>
                <c:pt idx="41">
                  <c:v>0.057332063797009</c:v>
                </c:pt>
                <c:pt idx="42">
                  <c:v>0.054202770183867106</c:v>
                </c:pt>
                <c:pt idx="43">
                  <c:v>0.04628557057434677</c:v>
                </c:pt>
                <c:pt idx="44">
                  <c:v>0.06596169571287916</c:v>
                </c:pt>
                <c:pt idx="45">
                  <c:v>0.07636134726578216</c:v>
                </c:pt>
                <c:pt idx="46">
                  <c:v>0.07181794170410624</c:v>
                </c:pt>
                <c:pt idx="47">
                  <c:v>0.06681629348529416</c:v>
                </c:pt>
                <c:pt idx="48">
                  <c:v>0.05472030149501995</c:v>
                </c:pt>
                <c:pt idx="49">
                  <c:v>0.0538930960958753</c:v>
                </c:pt>
                <c:pt idx="50">
                  <c:v>0.048809690618746765</c:v>
                </c:pt>
                <c:pt idx="51">
                  <c:v>0.0563810809287389</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49638769638812763</c:v>
                </c:pt>
              </c:numCache>
            </c:numRef>
          </c:xVal>
          <c:yVal>
            <c:numRef>
              <c:f>Sheet1!$B$102:$B$103</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49638769638812763</c:v>
                </c:pt>
                <c:pt idx="1">
                  <c:v>0.49638769638812763</c:v>
                </c:pt>
              </c:numCache>
            </c:numRef>
          </c:xVal>
          <c:yVal>
            <c:numRef>
              <c:f>Sheet1!$B$106:$B$107</c:f>
              <c:numCache>
                <c:formatCode>General</c:formatCode>
                <c:ptCount val="2"/>
                <c:pt idx="0">
                  <c:v>0.0594854112727929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49638769638812763</c:v>
                </c:pt>
              </c:numCache>
            </c:numRef>
          </c:xVal>
          <c:yVal>
            <c:numRef>
              <c:f>Sheet1!$B$110:$B$111</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49638769638812763</c:v>
                </c:pt>
                <c:pt idx="1">
                  <c:v>0.49638769638812763</c:v>
                </c:pt>
              </c:numCache>
            </c:numRef>
          </c:xVal>
          <c:yVal>
            <c:numRef>
              <c:f>Sheet1!$B$114:$B$115</c:f>
              <c:numCache>
                <c:formatCode>General</c:formatCode>
                <c:ptCount val="2"/>
                <c:pt idx="0">
                  <c:v>0.05948541127279298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49638769638812763</c:v>
                </c:pt>
              </c:numCache>
            </c:numRef>
          </c:xVal>
          <c:yVal>
            <c:numRef>
              <c:f>Sheet1!$B$118:$B$119</c:f>
              <c:numCache>
                <c:formatCode>General</c:formatCode>
                <c:ptCount val="2"/>
                <c:pt idx="0">
                  <c:v>0.05948541127279299</c:v>
                </c:pt>
                <c:pt idx="1">
                  <c:v>0.05948541127279299</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49638769638812763</c:v>
                </c:pt>
                <c:pt idx="1">
                  <c:v>0.49638769638812763</c:v>
                </c:pt>
              </c:numCache>
            </c:numRef>
          </c:xVal>
          <c:yVal>
            <c:numRef>
              <c:f>Sheet1!$B$122:$B$123</c:f>
              <c:numCache>
                <c:formatCode>General</c:formatCode>
                <c:ptCount val="2"/>
                <c:pt idx="0">
                  <c:v>0.0594854112727929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306960362709424</c:v>
                </c:pt>
                <c:pt idx="1">
                  <c:v>0.5382774188526503</c:v>
                </c:pt>
                <c:pt idx="2">
                  <c:v>0.5387339703049291</c:v>
                </c:pt>
                <c:pt idx="3">
                  <c:v>0.539416583960924</c:v>
                </c:pt>
                <c:pt idx="4">
                  <c:v>0.5382220146349058</c:v>
                </c:pt>
                <c:pt idx="5">
                  <c:v>0.5400525342932192</c:v>
                </c:pt>
                <c:pt idx="6">
                  <c:v>0.5372745140010509</c:v>
                </c:pt>
                <c:pt idx="7">
                  <c:v>0.5375647164155863</c:v>
                </c:pt>
                <c:pt idx="8">
                  <c:v>0.49641981554267034</c:v>
                </c:pt>
                <c:pt idx="9">
                  <c:v>0.4459020222269799</c:v>
                </c:pt>
                <c:pt idx="10">
                  <c:v>0.4437763897807094</c:v>
                </c:pt>
                <c:pt idx="11">
                  <c:v>0.49183836261405867</c:v>
                </c:pt>
                <c:pt idx="12">
                  <c:v>0.5396260191076605</c:v>
                </c:pt>
                <c:pt idx="13">
                  <c:v>0.5386816138261225</c:v>
                </c:pt>
                <c:pt idx="14">
                  <c:v>0.4908839725254412</c:v>
                </c:pt>
                <c:pt idx="15">
                  <c:v>0.4454195205479452</c:v>
                </c:pt>
                <c:pt idx="16">
                  <c:v>0.4446455329168856</c:v>
                </c:pt>
                <c:pt idx="17">
                  <c:v>0.4741676234213548</c:v>
                </c:pt>
                <c:pt idx="18">
                  <c:v>0.538941961593089</c:v>
                </c:pt>
                <c:pt idx="19">
                  <c:v>0.5393087880439013</c:v>
                </c:pt>
                <c:pt idx="20">
                  <c:v>0.5376247835139816</c:v>
                </c:pt>
                <c:pt idx="21">
                  <c:v>0.5398672712764923</c:v>
                </c:pt>
                <c:pt idx="22">
                  <c:v>0.5350882312885465</c:v>
                </c:pt>
                <c:pt idx="23">
                  <c:v>0.48194482275574924</c:v>
                </c:pt>
                <c:pt idx="24">
                  <c:v>0.4443471662872819</c:v>
                </c:pt>
                <c:pt idx="25">
                  <c:v>0.4445503901613186</c:v>
                </c:pt>
                <c:pt idx="26">
                  <c:v>0.46655121419676215</c:v>
                </c:pt>
                <c:pt idx="27">
                  <c:v>0.515168025529762</c:v>
                </c:pt>
                <c:pt idx="28">
                  <c:v>0.5141456201112969</c:v>
                </c:pt>
                <c:pt idx="29">
                  <c:v>0.5230894973436861</c:v>
                </c:pt>
                <c:pt idx="30">
                  <c:v>0.5227356746765249</c:v>
                </c:pt>
                <c:pt idx="31">
                  <c:v>0.5220310614612121</c:v>
                </c:pt>
                <c:pt idx="32">
                  <c:v>0.5242514445806339</c:v>
                </c:pt>
                <c:pt idx="33">
                  <c:v>0.522533566841798</c:v>
                </c:pt>
                <c:pt idx="34">
                  <c:v>0.5236436522145248</c:v>
                </c:pt>
                <c:pt idx="35">
                  <c:v>0.5224362716481805</c:v>
                </c:pt>
                <c:pt idx="36">
                  <c:v>0.5215123859191656</c:v>
                </c:pt>
                <c:pt idx="37">
                  <c:v>0.5249605885444035</c:v>
                </c:pt>
                <c:pt idx="38">
                  <c:v>0.4620144780882697</c:v>
                </c:pt>
                <c:pt idx="39">
                  <c:v>0.4332697621920367</c:v>
                </c:pt>
                <c:pt idx="40">
                  <c:v>0.43059528674567493</c:v>
                </c:pt>
                <c:pt idx="41">
                  <c:v>0.4715369649805448</c:v>
                </c:pt>
                <c:pt idx="42">
                  <c:v>0.5226410321274981</c:v>
                </c:pt>
                <c:pt idx="43">
                  <c:v>0.5261140299669196</c:v>
                </c:pt>
                <c:pt idx="44">
                  <c:v>0.47571322928424087</c:v>
                </c:pt>
                <c:pt idx="45">
                  <c:v>0.4314961855830609</c:v>
                </c:pt>
                <c:pt idx="46">
                  <c:v>0.4314320742600269</c:v>
                </c:pt>
                <c:pt idx="47">
                  <c:v>0.4808055258293608</c:v>
                </c:pt>
                <c:pt idx="48">
                  <c:v>0.5233135403484863</c:v>
                </c:pt>
                <c:pt idx="49">
                  <c:v>0.5246405572092843</c:v>
                </c:pt>
                <c:pt idx="50">
                  <c:v>0.5235343334695386</c:v>
                </c:pt>
                <c:pt idx="51">
                  <c:v>0.5232424649271301</c:v>
                </c:pt>
                <c:pt idx="52">
                  <c:v>0.49638769638812763</c:v>
                </c:pt>
                <c:pt idx="53">
                  <c:v>0.49638769638812763</c:v>
                </c:pt>
                <c:pt idx="54">
                  <c:v>0.49638769638812763</c:v>
                </c:pt>
              </c:numCache>
            </c:numRef>
          </c:xVal>
          <c:yVal>
            <c:numRef>
              <c:f>Sheet1!$B$126:$B$180</c:f>
              <c:numCache>
                <c:formatCode>General</c:formatCode>
                <c:ptCount val="55"/>
                <c:pt idx="0">
                  <c:v>0.05510807254979401</c:v>
                </c:pt>
                <c:pt idx="1">
                  <c:v>0.05414077772695697</c:v>
                </c:pt>
                <c:pt idx="2">
                  <c:v>0.05408252715703936</c:v>
                </c:pt>
                <c:pt idx="3">
                  <c:v>0.05399543372146537</c:v>
                </c:pt>
                <c:pt idx="4">
                  <c:v>0.05414784665039013</c:v>
                </c:pt>
                <c:pt idx="5">
                  <c:v>0.05391429397454178</c:v>
                </c:pt>
                <c:pt idx="6">
                  <c:v>0.05426873653398129</c:v>
                </c:pt>
                <c:pt idx="7">
                  <c:v>0.05423171013541485</c:v>
                </c:pt>
                <c:pt idx="8">
                  <c:v>0.05948131324824822</c:v>
                </c:pt>
                <c:pt idx="9">
                  <c:v>0.06592678667064478</c:v>
                </c:pt>
                <c:pt idx="10">
                  <c:v>0.0661979922506788</c:v>
                </c:pt>
                <c:pt idx="11">
                  <c:v>0.06006585249965206</c:v>
                </c:pt>
                <c:pt idx="12">
                  <c:v>0.053968712271785846</c:v>
                </c:pt>
                <c:pt idx="13">
                  <c:v>0.05408920722500134</c:v>
                </c:pt>
                <c:pt idx="14">
                  <c:v>0.06018762139625333</c:v>
                </c:pt>
                <c:pt idx="15">
                  <c:v>0.06598834818282417</c:v>
                </c:pt>
                <c:pt idx="16">
                  <c:v>0.06608709985778519</c:v>
                </c:pt>
                <c:pt idx="17">
                  <c:v>0.062320429992950815</c:v>
                </c:pt>
                <c:pt idx="18">
                  <c:v>0.05405598992665109</c:v>
                </c:pt>
                <c:pt idx="19">
                  <c:v>0.054009187206576464</c:v>
                </c:pt>
                <c:pt idx="20">
                  <c:v>0.05422404628351524</c:v>
                </c:pt>
                <c:pt idx="21">
                  <c:v>0.053937931346091345</c:v>
                </c:pt>
                <c:pt idx="22">
                  <c:v>0.054547680371239415</c:v>
                </c:pt>
                <c:pt idx="23">
                  <c:v>0.06132815126657679</c:v>
                </c:pt>
                <c:pt idx="24">
                  <c:v>0.066125167913712</c:v>
                </c:pt>
                <c:pt idx="25">
                  <c:v>0.06609923894902595</c:v>
                </c:pt>
                <c:pt idx="26">
                  <c:v>0.0632921938014852</c:v>
                </c:pt>
                <c:pt idx="27">
                  <c:v>0.05708926321482412</c:v>
                </c:pt>
                <c:pt idx="28">
                  <c:v>0.05721971006372842</c:v>
                </c:pt>
                <c:pt idx="29">
                  <c:v>0.05607857702503258</c:v>
                </c:pt>
                <c:pt idx="30">
                  <c:v>0.056123720615988304</c:v>
                </c:pt>
                <c:pt idx="31">
                  <c:v>0.05621362093534682</c:v>
                </c:pt>
                <c:pt idx="32">
                  <c:v>0.055930326289154786</c:v>
                </c:pt>
                <c:pt idx="33">
                  <c:v>0.05614950718724747</c:v>
                </c:pt>
                <c:pt idx="34">
                  <c:v>0.05600787341235572</c:v>
                </c:pt>
                <c:pt idx="35">
                  <c:v>0.05616192090414657</c:v>
                </c:pt>
                <c:pt idx="36">
                  <c:v>0.05627979780495426</c:v>
                </c:pt>
                <c:pt idx="37">
                  <c:v>0.055839847899836245</c:v>
                </c:pt>
                <c:pt idx="38">
                  <c:v>0.06387102771509229</c:v>
                </c:pt>
                <c:pt idx="39">
                  <c:v>0.06753851376670422</c:v>
                </c:pt>
                <c:pt idx="40">
                  <c:v>0.06787974522748189</c:v>
                </c:pt>
                <c:pt idx="41">
                  <c:v>0.06265607092163678</c:v>
                </c:pt>
                <c:pt idx="42">
                  <c:v>0.05613579588678583</c:v>
                </c:pt>
                <c:pt idx="43">
                  <c:v>0.05569268240536067</c:v>
                </c:pt>
                <c:pt idx="44">
                  <c:v>0.06212322895037008</c:v>
                </c:pt>
                <c:pt idx="45">
                  <c:v>0.0677648011823936</c:v>
                </c:pt>
                <c:pt idx="46">
                  <c:v>0.06777298102956364</c:v>
                </c:pt>
                <c:pt idx="47">
                  <c:v>0.06147351209050205</c:v>
                </c:pt>
                <c:pt idx="48">
                  <c:v>0.056049991785295586</c:v>
                </c:pt>
                <c:pt idx="49">
                  <c:v>0.05588068011615961</c:v>
                </c:pt>
                <c:pt idx="50">
                  <c:v>0.05602182119231862</c:v>
                </c:pt>
                <c:pt idx="51">
                  <c:v>0.05605906016911184</c:v>
                </c:pt>
                <c:pt idx="52">
                  <c:v>0.059485411272792985</c:v>
                </c:pt>
                <c:pt idx="53">
                  <c:v>0.059485411272792985</c:v>
                </c:pt>
                <c:pt idx="54">
                  <c:v>0.05948541127279298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213923557293596"/>
          <c:min val="0.029548438951843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numCache>
            </c:numRef>
          </c:xVal>
          <c:yVal>
            <c:numRef>
              <c:f>Sheet1!$B$2:$B$15</c:f>
              <c:numCache>
                <c:formatCode>General</c:formatCode>
                <c:ptCount val="14"/>
                <c:pt idx="0">
                  <c:v>0.019011297616158416</c:v>
                </c:pt>
                <c:pt idx="1">
                  <c:v>0.018969301609524952</c:v>
                </c:pt>
                <c:pt idx="2">
                  <c:v>0.024605191490563994</c:v>
                </c:pt>
                <c:pt idx="3">
                  <c:v>0.01839071015802591</c:v>
                </c:pt>
                <c:pt idx="4">
                  <c:v>0.022321981447386098</c:v>
                </c:pt>
                <c:pt idx="5">
                  <c:v>0.022612104076490877</c:v>
                </c:pt>
                <c:pt idx="6">
                  <c:v>0.020874702998129418</c:v>
                </c:pt>
                <c:pt idx="7">
                  <c:v>0.018127745545653315</c:v>
                </c:pt>
                <c:pt idx="8">
                  <c:v>0.019482657749104033</c:v>
                </c:pt>
                <c:pt idx="9">
                  <c:v>0.017905124977420916</c:v>
                </c:pt>
                <c:pt idx="10">
                  <c:v>0.018071591756704676</c:v>
                </c:pt>
                <c:pt idx="11">
                  <c:v>0.018515272769310517</c:v>
                </c:pt>
                <c:pt idx="12">
                  <c:v>0.01974205086212806</c:v>
                </c:pt>
                <c:pt idx="13">
                  <c:v>0.02157784030376704</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20659696464331873</c:v>
                </c:pt>
              </c:numCache>
            </c:numRef>
          </c:xVal>
          <c:yVal>
            <c:numRef>
              <c:f>Sheet1!$B$20:$B$21</c:f>
              <c:numCache>
                <c:formatCode>General</c:formatCode>
                <c:ptCount val="2"/>
                <c:pt idx="0">
                  <c:v>0.020659696464331873</c:v>
                </c:pt>
                <c:pt idx="1">
                  <c:v>0.020659696464331873</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20659696464331873</c:v>
                </c:pt>
                <c:pt idx="1">
                  <c:v>0.020659696464331873</c:v>
                </c:pt>
              </c:numCache>
            </c:numRef>
          </c:xVal>
          <c:yVal>
            <c:numRef>
              <c:f>Sheet1!$B$24:$B$25</c:f>
              <c:numCache>
                <c:formatCode>General</c:formatCode>
                <c:ptCount val="2"/>
                <c:pt idx="0">
                  <c:v>0.0206596964643318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20659696464331873</c:v>
                </c:pt>
                <c:pt idx="2">
                  <c:v>0</c:v>
                </c:pt>
              </c:numCache>
            </c:numRef>
          </c:xVal>
          <c:yVal>
            <c:numRef>
              <c:f>Sheet1!$B$28:$B$30</c:f>
              <c:numCache>
                <c:formatCode>General</c:formatCode>
                <c:ptCount val="3"/>
                <c:pt idx="0">
                  <c:v>0</c:v>
                </c:pt>
                <c:pt idx="1">
                  <c:v>0.020659696464331873</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952622978867679"/>
          <c:min val="0.01432409998193673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1.751046115353091</c:v>
                </c:pt>
                <c:pt idx="1">
                  <c:v>1.6275558623069624</c:v>
                </c:pt>
                <c:pt idx="2">
                  <c:v>1.4356397204727807</c:v>
                </c:pt>
                <c:pt idx="3">
                  <c:v>1.4353377620567682</c:v>
                </c:pt>
                <c:pt idx="4">
                  <c:v>1.4354671728064878</c:v>
                </c:pt>
                <c:pt idx="5">
                  <c:v>1.4355534466396342</c:v>
                </c:pt>
                <c:pt idx="6">
                  <c:v>1.4847726684496592</c:v>
                </c:pt>
                <c:pt idx="7">
                  <c:v>1.6176343714951256</c:v>
                </c:pt>
                <c:pt idx="8">
                  <c:v>1.627512725390389</c:v>
                </c:pt>
                <c:pt idx="9">
                  <c:v>1.6274264515572425</c:v>
                </c:pt>
                <c:pt idx="10">
                  <c:v>1.627469588473816</c:v>
                </c:pt>
                <c:pt idx="11">
                  <c:v>1.6275558623069624</c:v>
                </c:pt>
                <c:pt idx="12">
                  <c:v>1.6273833146406695</c:v>
                </c:pt>
                <c:pt idx="13">
                  <c:v>1.6277284099732552</c:v>
                </c:pt>
                <c:pt idx="14">
                  <c:v>1.6274264515572425</c:v>
                </c:pt>
                <c:pt idx="15">
                  <c:v>1.6274264515572425</c:v>
                </c:pt>
                <c:pt idx="16">
                  <c:v>1.628548011388146</c:v>
                </c:pt>
                <c:pt idx="17">
                  <c:v>1.6299124282817827</c:v>
                </c:pt>
              </c:numCache>
            </c:numRef>
          </c:xVal>
          <c:yVal>
            <c:numRef>
              <c:f>Sheet1!$B$2:$B$19</c:f>
              <c:numCache>
                <c:formatCode>General</c:formatCode>
                <c:ptCount val="18"/>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pt idx="13">
                  <c:v>0.0018563841992025778</c:v>
                </c:pt>
                <c:pt idx="14">
                  <c:v>0.0015582557895677908</c:v>
                </c:pt>
                <c:pt idx="15">
                  <c:v>0.0015689251682700898</c:v>
                </c:pt>
                <c:pt idx="16">
                  <c:v>0.0008237116596096251</c:v>
                </c:pt>
                <c:pt idx="17">
                  <c:v>0.00040509749115954624</c:v>
                </c:pt>
              </c:numCache>
            </c:numRef>
          </c:yVal>
          <c:smooth val="0"/>
          <c:extLst>
            <c:ext xmlns:c16="http://schemas.microsoft.com/office/drawing/2014/chart" uri="{C3380CC4-5D6E-409C-BE32-E72D297353CC}">
              <c16:uniqueId val="{00000000-096C-4121-9522-6AB7243CCAAE}"/>
            </c:ext>
          </c:extLst>
        </c:ser>
        <c:ser>
          <c:idx val="1"/>
          <c:order val="1"/>
          <c:tx>
            <c:strRef>
              <c:f>Sheet1!$B$2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4:$A$25</c:f>
              <c:numCache>
                <c:formatCode>General</c:formatCode>
                <c:ptCount val="2"/>
                <c:pt idx="0">
                  <c:v>0</c:v>
                </c:pt>
                <c:pt idx="1">
                  <c:v>0.006803138956783552</c:v>
                </c:pt>
              </c:numCache>
            </c:numRef>
          </c:xVal>
          <c:yVal>
            <c:numRef>
              <c:f>Sheet1!$B$24:$B$25</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5-096C-4121-9522-6AB7243CCAAE}"/>
            </c:ext>
          </c:extLst>
        </c:ser>
        <c:ser>
          <c:idx val="3"/>
          <c:order val="3"/>
          <c:tx>
            <c:strRef>
              <c:f>Sheet1!$B$2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8:$A$29</c:f>
              <c:numCache>
                <c:formatCode>General</c:formatCode>
                <c:ptCount val="2"/>
                <c:pt idx="0">
                  <c:v>0.006803138956783552</c:v>
                </c:pt>
                <c:pt idx="1">
                  <c:v>0.006803138956783552</c:v>
                </c:pt>
              </c:numCache>
            </c:numRef>
          </c:xVal>
          <c:yVal>
            <c:numRef>
              <c:f>Sheet1!$B$28:$B$29</c:f>
              <c:numCache>
                <c:formatCode>General</c:formatCode>
                <c:ptCount val="2"/>
                <c:pt idx="0">
                  <c:v>0.006803138956783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2:$A$34</c:f>
              <c:numCache>
                <c:formatCode>General</c:formatCode>
                <c:ptCount val="3"/>
                <c:pt idx="0">
                  <c:v>0</c:v>
                </c:pt>
                <c:pt idx="1">
                  <c:v>0.006803138956783552</c:v>
                </c:pt>
                <c:pt idx="2">
                  <c:v>0</c:v>
                </c:pt>
              </c:numCache>
            </c:numRef>
          </c:xVal>
          <c:yVal>
            <c:numRef>
              <c:f>Sheet1!$B$32:$B$34</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240779929276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pt idx="13">
                  <c:v>3.7734</c:v>
                </c:pt>
                <c:pt idx="14">
                  <c:v>3.7727</c:v>
                </c:pt>
                <c:pt idx="15">
                  <c:v>3.7727</c:v>
                </c:pt>
                <c:pt idx="16">
                  <c:v>3.7753</c:v>
                </c:pt>
                <c:pt idx="17">
                  <c:v>3.7783</c:v>
                </c:pt>
              </c:numCache>
            </c:numRef>
          </c:xVal>
          <c:yVal>
            <c:numRef>
              <c:f>Sheet1!$B$2:$B$19</c:f>
              <c:numCache>
                <c:formatCode>General</c:formatCode>
                <c:ptCount val="18"/>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pt idx="13">
                  <c:v>0.0018563841992025778</c:v>
                </c:pt>
                <c:pt idx="14">
                  <c:v>0.0015582557895677908</c:v>
                </c:pt>
                <c:pt idx="15">
                  <c:v>0.0015689251682700898</c:v>
                </c:pt>
                <c:pt idx="16">
                  <c:v>0.0008237116596096251</c:v>
                </c:pt>
                <c:pt idx="17">
                  <c:v>0.00040509749115954624</c:v>
                </c:pt>
              </c:numCache>
            </c:numRef>
          </c:yVal>
          <c:smooth val="0"/>
          <c:extLst>
            <c:ext xmlns:c16="http://schemas.microsoft.com/office/drawing/2014/chart" uri="{C3380CC4-5D6E-409C-BE32-E72D297353CC}">
              <c16:uniqueId val="{00000000-F32D-48B7-BC20-E66FC6253BAD}"/>
            </c:ext>
          </c:extLst>
        </c:ser>
        <c:ser>
          <c:idx val="1"/>
          <c:order val="1"/>
          <c:tx>
            <c:strRef>
              <c:f>Sheet1!$B$2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3</c:f>
              <c:strCache>
                <c:ptCount val="1"/>
                <c:pt idx="0">
                  <c:v>Custom Linep3yQ</c:v>
                </c:pt>
              </c:strCache>
            </c:strRef>
          </c:tx>
          <c:spPr>
            <a:ln w="19050" cap="rnd">
              <a:solidFill>
                <a:srgbClr val="C00000"/>
              </a:solidFill>
              <a:prstDash val="sysDot"/>
              <a:round/>
            </a:ln>
            <a:effectLst/>
          </c:spPr>
          <c:marker>
            <c:symbol val="none"/>
          </c:marker>
          <c:xVal>
            <c:numRef>
              <c:f>Sheet1!$A$24:$A$25</c:f>
              <c:numCache>
                <c:formatCode>General</c:formatCode>
                <c:ptCount val="2"/>
                <c:pt idx="0">
                  <c:v>0</c:v>
                </c:pt>
                <c:pt idx="1">
                  <c:v>0.006803138956783552</c:v>
                </c:pt>
              </c:numCache>
            </c:numRef>
          </c:xVal>
          <c:yVal>
            <c:numRef>
              <c:f>Sheet1!$B$24:$B$25</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3-F32D-48B7-BC20-E66FC6253BAD}"/>
            </c:ext>
          </c:extLst>
        </c:ser>
        <c:ser>
          <c:idx val="3"/>
          <c:order val="3"/>
          <c:tx>
            <c:strRef>
              <c:f>Sheet1!$B$2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8:$A$29</c:f>
              <c:numCache>
                <c:formatCode>General</c:formatCode>
                <c:ptCount val="2"/>
                <c:pt idx="0">
                  <c:v>0.006803138956783552</c:v>
                </c:pt>
                <c:pt idx="1">
                  <c:v>0.006803138956783552</c:v>
                </c:pt>
              </c:numCache>
            </c:numRef>
          </c:xVal>
          <c:yVal>
            <c:numRef>
              <c:f>Sheet1!$B$28:$B$29</c:f>
              <c:numCache>
                <c:formatCode>General</c:formatCode>
                <c:ptCount val="2"/>
                <c:pt idx="0">
                  <c:v>0.006803138956783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2:$A$34</c:f>
              <c:numCache>
                <c:formatCode>General</c:formatCode>
                <c:ptCount val="3"/>
                <c:pt idx="0">
                  <c:v>0</c:v>
                </c:pt>
                <c:pt idx="1">
                  <c:v>0.006803138956783552</c:v>
                </c:pt>
                <c:pt idx="2">
                  <c:v>0</c:v>
                </c:pt>
              </c:numCache>
            </c:numRef>
          </c:xVal>
          <c:yVal>
            <c:numRef>
              <c:f>Sheet1!$B$32:$B$34</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240779929276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0.7898311021170611</c:v>
                </c:pt>
                <c:pt idx="1">
                  <c:v>0.7341466736715117</c:v>
                </c:pt>
                <c:pt idx="2">
                  <c:v>0.6475658637195003</c:v>
                </c:pt>
                <c:pt idx="3">
                  <c:v>0.6475430573124453</c:v>
                </c:pt>
                <c:pt idx="4">
                  <c:v>0.6474880336226019</c:v>
                </c:pt>
                <c:pt idx="5">
                  <c:v>0.6476655703248156</c:v>
                </c:pt>
                <c:pt idx="6">
                  <c:v>0.6697801128624246</c:v>
                </c:pt>
                <c:pt idx="7">
                  <c:v>0.7297991592713685</c:v>
                </c:pt>
                <c:pt idx="8">
                  <c:v>0.734141500622665</c:v>
                </c:pt>
                <c:pt idx="9">
                  <c:v>0.7341311539209963</c:v>
                </c:pt>
                <c:pt idx="10">
                  <c:v>0.7340791905827415</c:v>
                </c:pt>
                <c:pt idx="11">
                  <c:v>0.7341752446926505</c:v>
                </c:pt>
                <c:pt idx="12">
                  <c:v>0.7342117042601639</c:v>
                </c:pt>
                <c:pt idx="13">
                  <c:v>0.7341530798863769</c:v>
                </c:pt>
                <c:pt idx="14">
                  <c:v>0.7341740128826356</c:v>
                </c:pt>
                <c:pt idx="15">
                  <c:v>0.7342168768488245</c:v>
                </c:pt>
                <c:pt idx="16">
                  <c:v>0.7346513845375471</c:v>
                </c:pt>
                <c:pt idx="17">
                  <c:v>0.7352780913089169</c:v>
                </c:pt>
              </c:numCache>
            </c:numRef>
          </c:xVal>
          <c:yVal>
            <c:numRef>
              <c:f>Sheet1!$B$2:$B$19</c:f>
              <c:numCache>
                <c:formatCode>General</c:formatCode>
                <c:ptCount val="18"/>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pt idx="13">
                  <c:v>0.0018563841992025778</c:v>
                </c:pt>
                <c:pt idx="14">
                  <c:v>0.0015582557895677908</c:v>
                </c:pt>
                <c:pt idx="15">
                  <c:v>0.0015689251682700898</c:v>
                </c:pt>
                <c:pt idx="16">
                  <c:v>0.0008237116596096251</c:v>
                </c:pt>
                <c:pt idx="17">
                  <c:v>0.00040509749115954624</c:v>
                </c:pt>
              </c:numCache>
            </c:numRef>
          </c:yVal>
          <c:smooth val="0"/>
          <c:extLst>
            <c:ext xmlns:c16="http://schemas.microsoft.com/office/drawing/2014/chart" uri="{C3380CC4-5D6E-409C-BE32-E72D297353CC}">
              <c16:uniqueId val="{00000000-096C-4121-9522-6AB7243CCAAE}"/>
            </c:ext>
          </c:extLst>
        </c:ser>
        <c:ser>
          <c:idx val="1"/>
          <c:order val="1"/>
          <c:tx>
            <c:strRef>
              <c:f>Sheet1!$B$2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4:$A$25</c:f>
              <c:numCache>
                <c:formatCode>General</c:formatCode>
                <c:ptCount val="2"/>
                <c:pt idx="0">
                  <c:v>0</c:v>
                </c:pt>
                <c:pt idx="1">
                  <c:v>0.006803138956783552</c:v>
                </c:pt>
              </c:numCache>
            </c:numRef>
          </c:xVal>
          <c:yVal>
            <c:numRef>
              <c:f>Sheet1!$B$24:$B$25</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5-096C-4121-9522-6AB7243CCAAE}"/>
            </c:ext>
          </c:extLst>
        </c:ser>
        <c:ser>
          <c:idx val="3"/>
          <c:order val="3"/>
          <c:tx>
            <c:strRef>
              <c:f>Sheet1!$B$2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8:$A$29</c:f>
              <c:numCache>
                <c:formatCode>General</c:formatCode>
                <c:ptCount val="2"/>
                <c:pt idx="0">
                  <c:v>0.006803138956783552</c:v>
                </c:pt>
                <c:pt idx="1">
                  <c:v>0.006803138956783552</c:v>
                </c:pt>
              </c:numCache>
            </c:numRef>
          </c:xVal>
          <c:yVal>
            <c:numRef>
              <c:f>Sheet1!$B$28:$B$29</c:f>
              <c:numCache>
                <c:formatCode>General</c:formatCode>
                <c:ptCount val="2"/>
                <c:pt idx="0">
                  <c:v>0.006803138956783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2:$A$34</c:f>
              <c:numCache>
                <c:formatCode>General</c:formatCode>
                <c:ptCount val="3"/>
                <c:pt idx="0">
                  <c:v>0</c:v>
                </c:pt>
                <c:pt idx="1">
                  <c:v>0.006803138956783552</c:v>
                </c:pt>
                <c:pt idx="2">
                  <c:v>0</c:v>
                </c:pt>
              </c:numCache>
            </c:numRef>
          </c:xVal>
          <c:yVal>
            <c:numRef>
              <c:f>Sheet1!$B$32:$B$34</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2407799292763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pt idx="13">
                  <c:v>3.7734</c:v>
                </c:pt>
                <c:pt idx="14">
                  <c:v>3.7727</c:v>
                </c:pt>
                <c:pt idx="15">
                  <c:v>3.7727</c:v>
                </c:pt>
                <c:pt idx="16">
                  <c:v>3.7753</c:v>
                </c:pt>
                <c:pt idx="17">
                  <c:v>3.7783</c:v>
                </c:pt>
              </c:numCache>
            </c:numRef>
          </c:xVal>
          <c:yVal>
            <c:numRef>
              <c:f>Sheet1!$B$2:$B$19</c:f>
              <c:numCache>
                <c:formatCode>General</c:formatCode>
                <c:ptCount val="18"/>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pt idx="13">
                  <c:v>0.0018563841992025778</c:v>
                </c:pt>
                <c:pt idx="14">
                  <c:v>0.0015582557895677908</c:v>
                </c:pt>
                <c:pt idx="15">
                  <c:v>0.0015689251682700898</c:v>
                </c:pt>
                <c:pt idx="16">
                  <c:v>0.0008237116596096251</c:v>
                </c:pt>
                <c:pt idx="17">
                  <c:v>0.00040509749115954624</c:v>
                </c:pt>
              </c:numCache>
            </c:numRef>
          </c:yVal>
          <c:smooth val="0"/>
          <c:extLst>
            <c:ext xmlns:c16="http://schemas.microsoft.com/office/drawing/2014/chart" uri="{C3380CC4-5D6E-409C-BE32-E72D297353CC}">
              <c16:uniqueId val="{00000000-F32D-48B7-BC20-E66FC6253BAD}"/>
            </c:ext>
          </c:extLst>
        </c:ser>
        <c:ser>
          <c:idx val="1"/>
          <c:order val="1"/>
          <c:tx>
            <c:strRef>
              <c:f>Sheet1!$B$2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3</c:f>
              <c:strCache>
                <c:ptCount val="1"/>
                <c:pt idx="0">
                  <c:v>Custom Linep3yQ</c:v>
                </c:pt>
              </c:strCache>
            </c:strRef>
          </c:tx>
          <c:spPr>
            <a:ln w="19050" cap="rnd">
              <a:solidFill>
                <a:srgbClr val="C00000"/>
              </a:solidFill>
              <a:prstDash val="sysDot"/>
              <a:round/>
            </a:ln>
            <a:effectLst/>
          </c:spPr>
          <c:marker>
            <c:symbol val="none"/>
          </c:marker>
          <c:xVal>
            <c:numRef>
              <c:f>Sheet1!$A$24:$A$25</c:f>
              <c:numCache>
                <c:formatCode>General</c:formatCode>
                <c:ptCount val="2"/>
                <c:pt idx="0">
                  <c:v>0</c:v>
                </c:pt>
                <c:pt idx="1">
                  <c:v>0.006803138956783552</c:v>
                </c:pt>
              </c:numCache>
            </c:numRef>
          </c:xVal>
          <c:yVal>
            <c:numRef>
              <c:f>Sheet1!$B$24:$B$25</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3-F32D-48B7-BC20-E66FC6253BAD}"/>
            </c:ext>
          </c:extLst>
        </c:ser>
        <c:ser>
          <c:idx val="3"/>
          <c:order val="3"/>
          <c:tx>
            <c:strRef>
              <c:f>Sheet1!$B$2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8:$A$29</c:f>
              <c:numCache>
                <c:formatCode>General</c:formatCode>
                <c:ptCount val="2"/>
                <c:pt idx="0">
                  <c:v>0.006803138956783552</c:v>
                </c:pt>
                <c:pt idx="1">
                  <c:v>0.006803138956783552</c:v>
                </c:pt>
              </c:numCache>
            </c:numRef>
          </c:xVal>
          <c:yVal>
            <c:numRef>
              <c:f>Sheet1!$B$28:$B$29</c:f>
              <c:numCache>
                <c:formatCode>General</c:formatCode>
                <c:ptCount val="2"/>
                <c:pt idx="0">
                  <c:v>0.006803138956783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2:$A$34</c:f>
              <c:numCache>
                <c:formatCode>General</c:formatCode>
                <c:ptCount val="3"/>
                <c:pt idx="0">
                  <c:v>0</c:v>
                </c:pt>
                <c:pt idx="1">
                  <c:v>0.006803138956783552</c:v>
                </c:pt>
                <c:pt idx="2">
                  <c:v>0</c:v>
                </c:pt>
              </c:numCache>
            </c:numRef>
          </c:xVal>
          <c:yVal>
            <c:numRef>
              <c:f>Sheet1!$B$32:$B$34</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2407799292763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4</c:f>
              <c:numCache>
                <c:formatCode>General</c:formatCode>
                <c:ptCount val="13"/>
                <c:pt idx="0">
                  <c:v>1.6736486207891808</c:v>
                </c:pt>
                <c:pt idx="1">
                  <c:v>1.5558121314584965</c:v>
                </c:pt>
                <c:pt idx="2">
                  <c:v>1.3724123711340208</c:v>
                </c:pt>
                <c:pt idx="3">
                  <c:v>1.372010555830447</c:v>
                </c:pt>
                <c:pt idx="4">
                  <c:v>1.3721908374912375</c:v>
                </c:pt>
                <c:pt idx="5">
                  <c:v>1.3722167243938646</c:v>
                </c:pt>
                <c:pt idx="6">
                  <c:v>1.4192643905657267</c:v>
                </c:pt>
                <c:pt idx="7">
                  <c:v>1.5463917525773196</c:v>
                </c:pt>
                <c:pt idx="8">
                  <c:v>1.555835051546392</c:v>
                </c:pt>
                <c:pt idx="9">
                  <c:v>1.5558167347107097</c:v>
                </c:pt>
                <c:pt idx="10">
                  <c:v>1.55579381443299</c:v>
                </c:pt>
                <c:pt idx="11">
                  <c:v>1.5557479795480786</c:v>
                </c:pt>
                <c:pt idx="12">
                  <c:v>1.5555189048777471</c:v>
                </c:pt>
              </c:numCache>
            </c:numRef>
          </c:xVal>
          <c:yVal>
            <c:numRef>
              <c:f>Sheet1!$B$2:$B$14</c:f>
              <c:numCache>
                <c:formatCode>General</c:formatCode>
                <c:ptCount val="13"/>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numCache>
            </c:numRef>
          </c:yVal>
          <c:smooth val="0"/>
          <c:extLst>
            <c:ext xmlns:c16="http://schemas.microsoft.com/office/drawing/2014/chart" uri="{C3380CC4-5D6E-409C-BE32-E72D297353CC}">
              <c16:uniqueId val="{00000000-096C-4121-9522-6AB7243CCAAE}"/>
            </c:ext>
          </c:extLst>
        </c:ser>
        <c:ser>
          <c:idx val="1"/>
          <c:order val="1"/>
          <c:tx>
            <c:strRef>
              <c:f>Sheet1!$B$1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7:$A$16</c:f>
              <c:numCache>
                <c:formatCode>General</c:formatCode>
                <c:ptCount val="0"/>
              </c:numCache>
            </c:numRef>
          </c:xVal>
          <c:yVal>
            <c:numRef>
              <c:f>Sheet1!$B$17:$B$16</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9:$A$20</c:f>
              <c:numCache>
                <c:formatCode>General</c:formatCode>
                <c:ptCount val="2"/>
                <c:pt idx="0">
                  <c:v>0</c:v>
                </c:pt>
                <c:pt idx="1">
                  <c:v>0.006803138956783552</c:v>
                </c:pt>
              </c:numCache>
            </c:numRef>
          </c:xVal>
          <c:yVal>
            <c:numRef>
              <c:f>Sheet1!$B$19:$B$20</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5-096C-4121-9522-6AB7243CCAAE}"/>
            </c:ext>
          </c:extLst>
        </c:ser>
        <c:ser>
          <c:idx val="3"/>
          <c:order val="3"/>
          <c:tx>
            <c:strRef>
              <c:f>Sheet1!$B$2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3:$A$24</c:f>
              <c:numCache>
                <c:formatCode>General</c:formatCode>
                <c:ptCount val="2"/>
                <c:pt idx="0">
                  <c:v>0.006803138956783552</c:v>
                </c:pt>
                <c:pt idx="1">
                  <c:v>0.006803138956783552</c:v>
                </c:pt>
              </c:numCache>
            </c:numRef>
          </c:xVal>
          <c:yVal>
            <c:numRef>
              <c:f>Sheet1!$B$23:$B$24</c:f>
              <c:numCache>
                <c:formatCode>General</c:formatCode>
                <c:ptCount val="2"/>
                <c:pt idx="0">
                  <c:v>0.0068031389567835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6</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7:$A$29</c:f>
              <c:numCache>
                <c:formatCode>General</c:formatCode>
                <c:ptCount val="3"/>
                <c:pt idx="0">
                  <c:v>0</c:v>
                </c:pt>
                <c:pt idx="1">
                  <c:v>0.006803138956783552</c:v>
                </c:pt>
                <c:pt idx="2">
                  <c:v>0</c:v>
                </c:pt>
              </c:numCache>
            </c:numRef>
          </c:xVal>
          <c:yVal>
            <c:numRef>
              <c:f>Sheet1!$B$27:$B$29</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46908407051369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4</c:f>
              <c:numCache>
                <c:formatCode>General</c:formatCode>
                <c:ptCount val="13"/>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numCache>
            </c:numRef>
          </c:xVal>
          <c:yVal>
            <c:numRef>
              <c:f>Sheet1!$B$2:$B$14</c:f>
              <c:numCache>
                <c:formatCode>General</c:formatCode>
                <c:ptCount val="13"/>
                <c:pt idx="0">
                  <c:v>0.01964725286155096</c:v>
                </c:pt>
                <c:pt idx="1">
                  <c:v>0.004174417729038663</c:v>
                </c:pt>
                <c:pt idx="2">
                  <c:v>0.0004336355088142123</c:v>
                </c:pt>
                <c:pt idx="3">
                  <c:v>0.002957249727730371</c:v>
                </c:pt>
                <c:pt idx="4">
                  <c:v>0.003675669683923198</c:v>
                </c:pt>
                <c:pt idx="5">
                  <c:v>0.0015778786688877995</c:v>
                </c:pt>
                <c:pt idx="6">
                  <c:v>0.0022103927002545343</c:v>
                </c:pt>
                <c:pt idx="7">
                  <c:v>0.0017596414219079193</c:v>
                </c:pt>
                <c:pt idx="8">
                  <c:v>0.0011512696648877513</c:v>
                </c:pt>
                <c:pt idx="9">
                  <c:v>0.00130569155491598</c:v>
                </c:pt>
                <c:pt idx="10">
                  <c:v>0.0014834593167435495</c:v>
                </c:pt>
                <c:pt idx="11">
                  <c:v>0.002213231023502585</c:v>
                </c:pt>
                <c:pt idx="12">
                  <c:v>0.001687518780561095</c:v>
                </c:pt>
              </c:numCache>
            </c:numRef>
          </c:yVal>
          <c:smooth val="0"/>
          <c:extLst>
            <c:ext xmlns:c16="http://schemas.microsoft.com/office/drawing/2014/chart" uri="{C3380CC4-5D6E-409C-BE32-E72D297353CC}">
              <c16:uniqueId val="{00000000-F32D-48B7-BC20-E66FC6253BAD}"/>
            </c:ext>
          </c:extLst>
        </c:ser>
        <c:ser>
          <c:idx val="1"/>
          <c:order val="1"/>
          <c:tx>
            <c:strRef>
              <c:f>Sheet1!$B$1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7:$A$16</c:f>
              <c:numCache>
                <c:formatCode>General</c:formatCode>
                <c:ptCount val="0"/>
              </c:numCache>
            </c:numRef>
          </c:xVal>
          <c:yVal>
            <c:numRef>
              <c:f>Sheet1!$B$17:$B$16</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8</c:f>
              <c:strCache>
                <c:ptCount val="1"/>
                <c:pt idx="0">
                  <c:v>Custom Linep3yQ</c:v>
                </c:pt>
              </c:strCache>
            </c:strRef>
          </c:tx>
          <c:spPr>
            <a:ln w="19050" cap="rnd">
              <a:solidFill>
                <a:srgbClr val="C00000"/>
              </a:solidFill>
              <a:prstDash val="sysDot"/>
              <a:round/>
            </a:ln>
            <a:effectLst/>
          </c:spPr>
          <c:marker>
            <c:symbol val="none"/>
          </c:marker>
          <c:xVal>
            <c:numRef>
              <c:f>Sheet1!$A$19:$A$20</c:f>
              <c:numCache>
                <c:formatCode>General</c:formatCode>
                <c:ptCount val="2"/>
                <c:pt idx="0">
                  <c:v>0</c:v>
                </c:pt>
                <c:pt idx="1">
                  <c:v>0.006803138956783552</c:v>
                </c:pt>
              </c:numCache>
            </c:numRef>
          </c:xVal>
          <c:yVal>
            <c:numRef>
              <c:f>Sheet1!$B$19:$B$20</c:f>
              <c:numCache>
                <c:formatCode>General</c:formatCode>
                <c:ptCount val="2"/>
                <c:pt idx="0">
                  <c:v>0.006803138956783552</c:v>
                </c:pt>
                <c:pt idx="1">
                  <c:v>0.006803138956783552</c:v>
                </c:pt>
              </c:numCache>
            </c:numRef>
          </c:yVal>
          <c:smooth val="0"/>
          <c:extLst>
            <c:ext xmlns:c16="http://schemas.microsoft.com/office/drawing/2014/chart" uri="{C3380CC4-5D6E-409C-BE32-E72D297353CC}">
              <c16:uniqueId val="{00000003-F32D-48B7-BC20-E66FC6253BAD}"/>
            </c:ext>
          </c:extLst>
        </c:ser>
        <c:ser>
          <c:idx val="3"/>
          <c:order val="3"/>
          <c:tx>
            <c:strRef>
              <c:f>Sheet1!$B$2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3:$A$24</c:f>
              <c:numCache>
                <c:formatCode>General</c:formatCode>
                <c:ptCount val="2"/>
                <c:pt idx="0">
                  <c:v>0.006803138956783552</c:v>
                </c:pt>
                <c:pt idx="1">
                  <c:v>0.006803138956783552</c:v>
                </c:pt>
              </c:numCache>
            </c:numRef>
          </c:xVal>
          <c:yVal>
            <c:numRef>
              <c:f>Sheet1!$B$23:$B$24</c:f>
              <c:numCache>
                <c:formatCode>General</c:formatCode>
                <c:ptCount val="2"/>
                <c:pt idx="0">
                  <c:v>0.0068031389567835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6</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7:$A$29</c:f>
              <c:numCache>
                <c:formatCode>General</c:formatCode>
                <c:ptCount val="3"/>
                <c:pt idx="0">
                  <c:v>0</c:v>
                </c:pt>
                <c:pt idx="1">
                  <c:v>0.006803138956783552</c:v>
                </c:pt>
                <c:pt idx="2">
                  <c:v>0</c:v>
                </c:pt>
              </c:numCache>
            </c:numRef>
          </c:xVal>
          <c:yVal>
            <c:numRef>
              <c:f>Sheet1!$B$27:$B$29</c:f>
              <c:numCache>
                <c:formatCode>General</c:formatCode>
                <c:ptCount val="3"/>
                <c:pt idx="0">
                  <c:v>0</c:v>
                </c:pt>
                <c:pt idx="1">
                  <c:v>0.006803138956783552</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2357670343386115"/>
          <c:min val="0.000346908407051369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1036193434278074</c:v>
                </c:pt>
                <c:pt idx="1">
                  <c:v>1.0955051332930723</c:v>
                </c:pt>
                <c:pt idx="2">
                  <c:v>1.1977827624881372</c:v>
                </c:pt>
                <c:pt idx="3">
                  <c:v>1.2937624018635148</c:v>
                </c:pt>
                <c:pt idx="4">
                  <c:v>1.3051936847554138</c:v>
                </c:pt>
                <c:pt idx="5">
                  <c:v>1.2980329566042619</c:v>
                </c:pt>
                <c:pt idx="6">
                  <c:v>1.2203002329393495</c:v>
                </c:pt>
                <c:pt idx="7">
                  <c:v>0.9805452506254853</c:v>
                </c:pt>
                <c:pt idx="8">
                  <c:v>0.9684669139849883</c:v>
                </c:pt>
                <c:pt idx="9">
                  <c:v>0.979208006211716</c:v>
                </c:pt>
                <c:pt idx="10">
                  <c:v>0.9589767923388837</c:v>
                </c:pt>
                <c:pt idx="11">
                  <c:v>1.168665343801225</c:v>
                </c:pt>
                <c:pt idx="12">
                  <c:v>1.2985074626865671</c:v>
                </c:pt>
                <c:pt idx="13">
                  <c:v>1.291476145285135</c:v>
                </c:pt>
                <c:pt idx="14">
                  <c:v>1.2992407902683114</c:v>
                </c:pt>
                <c:pt idx="15">
                  <c:v>1.29760158743853</c:v>
                </c:pt>
                <c:pt idx="16">
                  <c:v>1.153394875334311</c:v>
                </c:pt>
                <c:pt idx="17">
                  <c:v>1.1002070571995513</c:v>
                </c:pt>
                <c:pt idx="18">
                  <c:v>1.1018937923299255</c:v>
                </c:pt>
                <c:pt idx="19">
                  <c:v>1.2244413769303768</c:v>
                </c:pt>
                <c:pt idx="20">
                  <c:v>1.3713657147787075</c:v>
                </c:pt>
                <c:pt idx="21">
                  <c:v>1.3293934949529806</c:v>
                </c:pt>
                <c:pt idx="22">
                  <c:v>1.2187904408592873</c:v>
                </c:pt>
                <c:pt idx="23">
                  <c:v>1.123026486066776</c:v>
                </c:pt>
                <c:pt idx="24">
                  <c:v>1.1284617375549997</c:v>
                </c:pt>
                <c:pt idx="25">
                  <c:v>1.277931153481149</c:v>
                </c:pt>
                <c:pt idx="26">
                  <c:v>1.317573979811923</c:v>
                </c:pt>
                <c:pt idx="27">
                  <c:v>1.3563972047278061</c:v>
                </c:pt>
                <c:pt idx="28">
                  <c:v>1.1968768872401</c:v>
                </c:pt>
                <c:pt idx="29">
                  <c:v>1.134716590458114</c:v>
                </c:pt>
                <c:pt idx="30">
                  <c:v>1.1313144385488116</c:v>
                </c:pt>
                <c:pt idx="31">
                  <c:v>1.2629626434302477</c:v>
                </c:pt>
                <c:pt idx="32">
                  <c:v>1.3427659390906739</c:v>
                </c:pt>
                <c:pt idx="33">
                  <c:v>1.3394443965145373</c:v>
                </c:pt>
                <c:pt idx="34">
                  <c:v>1.1880769562591666</c:v>
                </c:pt>
                <c:pt idx="35">
                  <c:v>1.1321715123802951</c:v>
                </c:pt>
                <c:pt idx="36">
                  <c:v>1.1450757085544196</c:v>
                </c:pt>
                <c:pt idx="37">
                  <c:v>1.2188335777758605</c:v>
                </c:pt>
                <c:pt idx="38">
                  <c:v>1.3379346044344749</c:v>
                </c:pt>
                <c:pt idx="39">
                  <c:v>1.3403071348460012</c:v>
                </c:pt>
                <c:pt idx="40">
                  <c:v>1.3442325942541626</c:v>
                </c:pt>
                <c:pt idx="41">
                  <c:v>1.1460184626002932</c:v>
                </c:pt>
                <c:pt idx="42">
                  <c:v>1.1412302648606678</c:v>
                </c:pt>
                <c:pt idx="43">
                  <c:v>1.1352342334569925</c:v>
                </c:pt>
              </c:numCache>
            </c:numRef>
          </c:xVal>
          <c:yVal>
            <c:numRef>
              <c:f>Sheet1!$B$2:$B$45</c:f>
              <c:numCache>
                <c:formatCode>General</c:formatCode>
                <c:ptCount val="4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pt idx="14">
                  <c:v>0.04721683698070291</c:v>
                </c:pt>
                <c:pt idx="15">
                  <c:v>0.0487170082157261</c:v>
                </c:pt>
                <c:pt idx="16">
                  <c:v>0.06386071558360039</c:v>
                </c:pt>
                <c:pt idx="17">
                  <c:v>0.05555633584632862</c:v>
                </c:pt>
                <c:pt idx="18">
                  <c:v>0.04429987233814671</c:v>
                </c:pt>
                <c:pt idx="19">
                  <c:v>0.03528497681578129</c:v>
                </c:pt>
                <c:pt idx="20">
                  <c:v>0.029956339226067927</c:v>
                </c:pt>
                <c:pt idx="21">
                  <c:v>0.05120979823298573</c:v>
                </c:pt>
                <c:pt idx="22">
                  <c:v>0.061442804917318586</c:v>
                </c:pt>
                <c:pt idx="23">
                  <c:v>0.04789244476407367</c:v>
                </c:pt>
                <c:pt idx="24">
                  <c:v>0.042071226254498655</c:v>
                </c:pt>
                <c:pt idx="25">
                  <c:v>0.04031387844798024</c:v>
                </c:pt>
                <c:pt idx="26">
                  <c:v>0.04472050168638943</c:v>
                </c:pt>
                <c:pt idx="27">
                  <c:v>0.04208566050473132</c:v>
                </c:pt>
                <c:pt idx="28">
                  <c:v>0.05179045952874366</c:v>
                </c:pt>
                <c:pt idx="29">
                  <c:v>0.057888008102612375</c:v>
                </c:pt>
                <c:pt idx="30">
                  <c:v>0.04644034493737068</c:v>
                </c:pt>
                <c:pt idx="31">
                  <c:v>0.034612203903982154</c:v>
                </c:pt>
                <c:pt idx="32">
                  <c:v>0.03317042262887218</c:v>
                </c:pt>
                <c:pt idx="33">
                  <c:v>0.05516964868104957</c:v>
                </c:pt>
                <c:pt idx="34">
                  <c:v>0.042999715661027615</c:v>
                </c:pt>
                <c:pt idx="35">
                  <c:v>0.047217256986367896</c:v>
                </c:pt>
                <c:pt idx="36">
                  <c:v>0.05292772332307508</c:v>
                </c:pt>
                <c:pt idx="37">
                  <c:v>0.030093917832120173</c:v>
                </c:pt>
                <c:pt idx="38">
                  <c:v>0.03697234310745065</c:v>
                </c:pt>
                <c:pt idx="39">
                  <c:v>0.035645265960377294</c:v>
                </c:pt>
                <c:pt idx="40">
                  <c:v>0.03973260376636785</c:v>
                </c:pt>
                <c:pt idx="41">
                  <c:v>0.04754649233149667</c:v>
                </c:pt>
                <c:pt idx="42">
                  <c:v>0.03395561423326476</c:v>
                </c:pt>
                <c:pt idx="43">
                  <c:v>0.0376121207751740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3090328703304288</c:v>
                </c:pt>
                <c:pt idx="1">
                  <c:v>1.3539815373997066</c:v>
                </c:pt>
                <c:pt idx="2">
                  <c:v>1.356828573893538</c:v>
                </c:pt>
                <c:pt idx="3">
                  <c:v>1.3519109654041928</c:v>
                </c:pt>
                <c:pt idx="4">
                  <c:v>1.3573030799758434</c:v>
                </c:pt>
                <c:pt idx="5">
                  <c:v>1.3556207402294882</c:v>
                </c:pt>
                <c:pt idx="6">
                  <c:v>1.3581658183073073</c:v>
                </c:pt>
                <c:pt idx="7">
                  <c:v>1.3944871020619445</c:v>
                </c:pt>
                <c:pt idx="8">
                  <c:v>1.3084720904149771</c:v>
                </c:pt>
                <c:pt idx="9">
                  <c:v>1.1920886895004745</c:v>
                </c:pt>
                <c:pt idx="10">
                  <c:v>1.1868771839006085</c:v>
                </c:pt>
                <c:pt idx="11">
                  <c:v>1.3307738762833232</c:v>
                </c:pt>
                <c:pt idx="12">
                  <c:v>1.4091105167802604</c:v>
                </c:pt>
                <c:pt idx="13">
                  <c:v>1.3804676041756536</c:v>
                </c:pt>
                <c:pt idx="14">
                  <c:v>1.2473902165473212</c:v>
                </c:pt>
                <c:pt idx="15">
                  <c:v>1.152316452419981</c:v>
                </c:pt>
                <c:pt idx="16">
                  <c:v>1.1564575964110084</c:v>
                </c:pt>
                <c:pt idx="17">
                  <c:v>1.2096454145457682</c:v>
                </c:pt>
                <c:pt idx="18">
                  <c:v>1.3733068760245017</c:v>
                </c:pt>
                <c:pt idx="19">
                  <c:v>1.3740833405228194</c:v>
                </c:pt>
                <c:pt idx="20">
                  <c:v>1.2571391596928652</c:v>
                </c:pt>
                <c:pt idx="21">
                  <c:v>1.1566732809938745</c:v>
                </c:pt>
                <c:pt idx="22">
                  <c:v>1.1606850142351826</c:v>
                </c:pt>
                <c:pt idx="23">
                  <c:v>1.2429575945817697</c:v>
                </c:pt>
                <c:pt idx="24">
                  <c:v>1.3701147441980848</c:v>
                </c:pt>
                <c:pt idx="25">
                  <c:v>1.3815891640065567</c:v>
                </c:pt>
                <c:pt idx="26">
                  <c:v>1.261754809766198</c:v>
                </c:pt>
                <c:pt idx="27">
                  <c:v>1.159520317487706</c:v>
                </c:pt>
                <c:pt idx="28">
                  <c:v>1.1572340609093261</c:v>
                </c:pt>
                <c:pt idx="29">
                  <c:v>1.2322491588301268</c:v>
                </c:pt>
                <c:pt idx="30">
                  <c:v>1.3771460615995168</c:v>
                </c:pt>
                <c:pt idx="31">
                  <c:v>1.3720127685273056</c:v>
                </c:pt>
                <c:pt idx="32">
                  <c:v>1.3714088516952807</c:v>
                </c:pt>
                <c:pt idx="33">
                  <c:v>1.3782408006557096</c:v>
                </c:pt>
                <c:pt idx="34">
                  <c:v>1.2551979984470711</c:v>
                </c:pt>
                <c:pt idx="35">
                  <c:v>1.158700716072815</c:v>
                </c:pt>
                <c:pt idx="36">
                  <c:v>1.1589164006556811</c:v>
                </c:pt>
                <c:pt idx="37">
                  <c:v>1.1570615132430335</c:v>
                </c:pt>
                <c:pt idx="38">
                  <c:v>1.2364765766543007</c:v>
                </c:pt>
                <c:pt idx="39">
                  <c:v>1.3726598222759037</c:v>
                </c:pt>
                <c:pt idx="40">
                  <c:v>1.3707617979466828</c:v>
                </c:pt>
                <c:pt idx="41">
                  <c:v>1.2477459988783919</c:v>
                </c:pt>
                <c:pt idx="42">
                  <c:v>1.1577517039082046</c:v>
                </c:pt>
                <c:pt idx="43">
                  <c:v>1.1613752049003536</c:v>
                </c:pt>
                <c:pt idx="44">
                  <c:v>1.23781382106807</c:v>
                </c:pt>
                <c:pt idx="45">
                  <c:v>1.3758950910188938</c:v>
                </c:pt>
                <c:pt idx="46">
                  <c:v>1.3747303942714175</c:v>
                </c:pt>
                <c:pt idx="47">
                  <c:v>1.2471745319644552</c:v>
                </c:pt>
                <c:pt idx="48">
                  <c:v>1.156328185661289</c:v>
                </c:pt>
                <c:pt idx="49">
                  <c:v>1.1549976273672404</c:v>
                </c:pt>
                <c:pt idx="50">
                  <c:v>1.158189896898322</c:v>
                </c:pt>
                <c:pt idx="51">
                  <c:v>1.3500560779915451</c:v>
                </c:pt>
              </c:numCache>
            </c:numRef>
          </c:xVal>
          <c:yVal>
            <c:numRef>
              <c:f>Sheet1!$B$48:$B$99</c:f>
              <c:numCache>
                <c:formatCode>General</c:formatCode>
                <c:ptCount val="52"/>
                <c:pt idx="0">
                  <c:v>0.04534005037783375</c:v>
                </c:pt>
                <c:pt idx="1">
                  <c:v>0.04086601382200842</c:v>
                </c:pt>
                <c:pt idx="2">
                  <c:v>0.039235978152095466</c:v>
                </c:pt>
                <c:pt idx="3">
                  <c:v>0.037027978800940387</c:v>
                </c:pt>
                <c:pt idx="4">
                  <c:v>0.05253020948762598</c:v>
                </c:pt>
                <c:pt idx="5">
                  <c:v>0.04897809908936387</c:v>
                </c:pt>
                <c:pt idx="6">
                  <c:v>0.04422837376651401</c:v>
                </c:pt>
                <c:pt idx="7">
                  <c:v>0.05408564630479583</c:v>
                </c:pt>
                <c:pt idx="8">
                  <c:v>0.0642555497871984</c:v>
                </c:pt>
                <c:pt idx="9">
                  <c:v>0.05320944827677519</c:v>
                </c:pt>
                <c:pt idx="10">
                  <c:v>0.0563570892935467</c:v>
                </c:pt>
                <c:pt idx="11">
                  <c:v>0.04633033290178769</c:v>
                </c:pt>
                <c:pt idx="12">
                  <c:v>0.0386188857747575</c:v>
                </c:pt>
                <c:pt idx="13">
                  <c:v>0.054942675995606434</c:v>
                </c:pt>
                <c:pt idx="14">
                  <c:v>0.06947711283182216</c:v>
                </c:pt>
                <c:pt idx="15">
                  <c:v>0.060383428669584654</c:v>
                </c:pt>
                <c:pt idx="16">
                  <c:v>0.05638195836507855</c:v>
                </c:pt>
                <c:pt idx="17">
                  <c:v>0.049706445805433604</c:v>
                </c:pt>
                <c:pt idx="18">
                  <c:v>0.048498096009537195</c:v>
                </c:pt>
                <c:pt idx="19">
                  <c:v>0.05445181319900868</c:v>
                </c:pt>
                <c:pt idx="20">
                  <c:v>0.06383212593989482</c:v>
                </c:pt>
                <c:pt idx="21">
                  <c:v>0.07001293942416267</c:v>
                </c:pt>
                <c:pt idx="22">
                  <c:v>0.0508786024682552</c:v>
                </c:pt>
                <c:pt idx="23">
                  <c:v>0.06584532321566107</c:v>
                </c:pt>
                <c:pt idx="24">
                  <c:v>0.05966762339715918</c:v>
                </c:pt>
                <c:pt idx="25">
                  <c:v>0.05459934441699196</c:v>
                </c:pt>
                <c:pt idx="26">
                  <c:v>0.06349426918087427</c:v>
                </c:pt>
                <c:pt idx="27">
                  <c:v>0.06984266931166572</c:v>
                </c:pt>
                <c:pt idx="28">
                  <c:v>0.06834967144593111</c:v>
                </c:pt>
                <c:pt idx="29">
                  <c:v>0.056318364853911326</c:v>
                </c:pt>
                <c:pt idx="30">
                  <c:v>0.053691566235202035</c:v>
                </c:pt>
                <c:pt idx="31">
                  <c:v>0.06068715936472836</c:v>
                </c:pt>
                <c:pt idx="32">
                  <c:v>0.037879433931294525</c:v>
                </c:pt>
                <c:pt idx="33">
                  <c:v>0.059967748887187984</c:v>
                </c:pt>
                <c:pt idx="34">
                  <c:v>0.0637369955231606</c:v>
                </c:pt>
                <c:pt idx="35">
                  <c:v>0.07218775074814628</c:v>
                </c:pt>
                <c:pt idx="36">
                  <c:v>0.06332436192640206</c:v>
                </c:pt>
                <c:pt idx="37">
                  <c:v>0.0653651319410137</c:v>
                </c:pt>
                <c:pt idx="38">
                  <c:v>0.06103994604920308</c:v>
                </c:pt>
                <c:pt idx="39">
                  <c:v>0.0577508263309754</c:v>
                </c:pt>
                <c:pt idx="40">
                  <c:v>0.06277791166594367</c:v>
                </c:pt>
                <c:pt idx="41">
                  <c:v>0.06744692593856512</c:v>
                </c:pt>
                <c:pt idx="42">
                  <c:v>0.0543591123502214</c:v>
                </c:pt>
                <c:pt idx="43">
                  <c:v>0.05974017199247768</c:v>
                </c:pt>
                <c:pt idx="44">
                  <c:v>0.06367050920955611</c:v>
                </c:pt>
                <c:pt idx="45">
                  <c:v>0.05107328100214597</c:v>
                </c:pt>
                <c:pt idx="46">
                  <c:v>0.04806168506828036</c:v>
                </c:pt>
                <c:pt idx="47">
                  <c:v>0.06376540682135745</c:v>
                </c:pt>
                <c:pt idx="48">
                  <c:v>0.06053504919784807</c:v>
                </c:pt>
                <c:pt idx="49">
                  <c:v>0.06912469292357976</c:v>
                </c:pt>
                <c:pt idx="50">
                  <c:v>0.04470528408885167</c:v>
                </c:pt>
                <c:pt idx="51">
                  <c:v>0.05503742285772611</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184297026055126</c:v>
                </c:pt>
              </c:numCache>
            </c:numRef>
          </c:xVal>
          <c:yVal>
            <c:numRef>
              <c:f>Sheet1!$B$102:$B$103</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184297026055126</c:v>
                </c:pt>
                <c:pt idx="1">
                  <c:v>1.184297026055126</c:v>
                </c:pt>
              </c:numCache>
            </c:numRef>
          </c:xVal>
          <c:yVal>
            <c:numRef>
              <c:f>Sheet1!$B$106:$B$107</c:f>
              <c:numCache>
                <c:formatCode>General</c:formatCode>
                <c:ptCount val="2"/>
                <c:pt idx="0">
                  <c:v>0.061221928415286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184297026055126</c:v>
                </c:pt>
              </c:numCache>
            </c:numRef>
          </c:xVal>
          <c:yVal>
            <c:numRef>
              <c:f>Sheet1!$B$110:$B$111</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184297026055126</c:v>
                </c:pt>
                <c:pt idx="1">
                  <c:v>1.184297026055126</c:v>
                </c:pt>
              </c:numCache>
            </c:numRef>
          </c:xVal>
          <c:yVal>
            <c:numRef>
              <c:f>Sheet1!$B$114:$B$115</c:f>
              <c:numCache>
                <c:formatCode>General</c:formatCode>
                <c:ptCount val="2"/>
                <c:pt idx="0">
                  <c:v>0.061221928415286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240039405799575</c:v>
                </c:pt>
              </c:numCache>
            </c:numRef>
          </c:xVal>
          <c:yVal>
            <c:numRef>
              <c:f>Sheet1!$B$118:$B$119</c:f>
              <c:numCache>
                <c:formatCode>General</c:formatCode>
                <c:ptCount val="2"/>
                <c:pt idx="0">
                  <c:v>0.058311406111348364</c:v>
                </c:pt>
                <c:pt idx="1">
                  <c:v>0.058311406111348364</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240039405799575</c:v>
                </c:pt>
                <c:pt idx="1">
                  <c:v>1.240039405799575</c:v>
                </c:pt>
              </c:numCache>
            </c:numRef>
          </c:xVal>
          <c:yVal>
            <c:numRef>
              <c:f>Sheet1!$B$122:$B$123</c:f>
              <c:numCache>
                <c:formatCode>General</c:formatCode>
                <c:ptCount val="2"/>
                <c:pt idx="0">
                  <c:v>0.0583114061113483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3090328703304288</c:v>
                </c:pt>
                <c:pt idx="1">
                  <c:v>1.3539815373997066</c:v>
                </c:pt>
                <c:pt idx="2">
                  <c:v>1.356828573893538</c:v>
                </c:pt>
                <c:pt idx="3">
                  <c:v>1.3519109654041928</c:v>
                </c:pt>
                <c:pt idx="4">
                  <c:v>1.3573030799758434</c:v>
                </c:pt>
                <c:pt idx="5">
                  <c:v>1.3556207402294882</c:v>
                </c:pt>
                <c:pt idx="6">
                  <c:v>1.3581658183073073</c:v>
                </c:pt>
                <c:pt idx="7">
                  <c:v>1.3944871020619445</c:v>
                </c:pt>
                <c:pt idx="8">
                  <c:v>1.3084720904149771</c:v>
                </c:pt>
                <c:pt idx="9">
                  <c:v>1.1920886895004745</c:v>
                </c:pt>
                <c:pt idx="10">
                  <c:v>1.1868771839006085</c:v>
                </c:pt>
                <c:pt idx="11">
                  <c:v>1.3307738762833232</c:v>
                </c:pt>
                <c:pt idx="12">
                  <c:v>1.4091105167802604</c:v>
                </c:pt>
                <c:pt idx="13">
                  <c:v>1.3804676041756536</c:v>
                </c:pt>
                <c:pt idx="14">
                  <c:v>1.2473902165473212</c:v>
                </c:pt>
                <c:pt idx="15">
                  <c:v>1.152316452419981</c:v>
                </c:pt>
                <c:pt idx="16">
                  <c:v>1.1564575964110084</c:v>
                </c:pt>
                <c:pt idx="17">
                  <c:v>1.2096454145457682</c:v>
                </c:pt>
                <c:pt idx="18">
                  <c:v>1.3733068760245017</c:v>
                </c:pt>
                <c:pt idx="19">
                  <c:v>1.3740833405228194</c:v>
                </c:pt>
                <c:pt idx="20">
                  <c:v>1.2571391596928652</c:v>
                </c:pt>
                <c:pt idx="21">
                  <c:v>1.1566732809938745</c:v>
                </c:pt>
                <c:pt idx="22">
                  <c:v>1.1606850142351826</c:v>
                </c:pt>
                <c:pt idx="23">
                  <c:v>1.2429575945817697</c:v>
                </c:pt>
                <c:pt idx="24">
                  <c:v>1.3701147441980848</c:v>
                </c:pt>
                <c:pt idx="25">
                  <c:v>1.3815891640065567</c:v>
                </c:pt>
                <c:pt idx="26">
                  <c:v>1.261754809766198</c:v>
                </c:pt>
                <c:pt idx="27">
                  <c:v>1.159520317487706</c:v>
                </c:pt>
                <c:pt idx="28">
                  <c:v>1.1572340609093261</c:v>
                </c:pt>
                <c:pt idx="29">
                  <c:v>1.2322491588301268</c:v>
                </c:pt>
                <c:pt idx="30">
                  <c:v>1.3771460615995168</c:v>
                </c:pt>
                <c:pt idx="31">
                  <c:v>1.3720127685273056</c:v>
                </c:pt>
                <c:pt idx="32">
                  <c:v>1.3714088516952807</c:v>
                </c:pt>
                <c:pt idx="33">
                  <c:v>1.3782408006557096</c:v>
                </c:pt>
                <c:pt idx="34">
                  <c:v>1.2551979984470711</c:v>
                </c:pt>
                <c:pt idx="35">
                  <c:v>1.158700716072815</c:v>
                </c:pt>
                <c:pt idx="36">
                  <c:v>1.1589164006556811</c:v>
                </c:pt>
                <c:pt idx="37">
                  <c:v>1.1570615132430335</c:v>
                </c:pt>
                <c:pt idx="38">
                  <c:v>1.2364765766543007</c:v>
                </c:pt>
                <c:pt idx="39">
                  <c:v>1.3726598222759037</c:v>
                </c:pt>
                <c:pt idx="40">
                  <c:v>1.3707617979466828</c:v>
                </c:pt>
                <c:pt idx="41">
                  <c:v>1.2477459988783919</c:v>
                </c:pt>
                <c:pt idx="42">
                  <c:v>1.1577517039082046</c:v>
                </c:pt>
                <c:pt idx="43">
                  <c:v>1.1613752049003536</c:v>
                </c:pt>
                <c:pt idx="44">
                  <c:v>1.23781382106807</c:v>
                </c:pt>
                <c:pt idx="45">
                  <c:v>1.3758950910188938</c:v>
                </c:pt>
                <c:pt idx="46">
                  <c:v>1.3747303942714175</c:v>
                </c:pt>
                <c:pt idx="47">
                  <c:v>1.2471745319644552</c:v>
                </c:pt>
                <c:pt idx="48">
                  <c:v>1.156328185661289</c:v>
                </c:pt>
                <c:pt idx="49">
                  <c:v>1.1549976273672404</c:v>
                </c:pt>
                <c:pt idx="50">
                  <c:v>1.158189896898322</c:v>
                </c:pt>
                <c:pt idx="51">
                  <c:v>1.3500560779915451</c:v>
                </c:pt>
                <c:pt idx="52">
                  <c:v>1.184297026055126</c:v>
                </c:pt>
                <c:pt idx="53">
                  <c:v>1.184297026055126</c:v>
                </c:pt>
                <c:pt idx="54">
                  <c:v>1.240039405799575</c:v>
                </c:pt>
              </c:numCache>
            </c:numRef>
          </c:xVal>
          <c:yVal>
            <c:numRef>
              <c:f>Sheet1!$B$126:$B$180</c:f>
              <c:numCache>
                <c:formatCode>General</c:formatCode>
                <c:ptCount val="55"/>
                <c:pt idx="0">
                  <c:v>0.05470899411775214</c:v>
                </c:pt>
                <c:pt idx="1">
                  <c:v>0.05236205273065718</c:v>
                </c:pt>
                <c:pt idx="2">
                  <c:v>0.05221339809385463</c:v>
                </c:pt>
                <c:pt idx="3">
                  <c:v>0.05247016519378632</c:v>
                </c:pt>
                <c:pt idx="4">
                  <c:v>0.05218862232105419</c:v>
                </c:pt>
                <c:pt idx="5">
                  <c:v>0.05227646369734662</c:v>
                </c:pt>
                <c:pt idx="6">
                  <c:v>0.052143575461417055</c:v>
                </c:pt>
                <c:pt idx="7">
                  <c:v>0.050247102670693475</c:v>
                </c:pt>
                <c:pt idx="8">
                  <c:v>0.05473827457651628</c:v>
                </c:pt>
                <c:pt idx="9">
                  <c:v>0.06081509594156641</c:v>
                </c:pt>
                <c:pt idx="10">
                  <c:v>0.06108720853085746</c:v>
                </c:pt>
                <c:pt idx="11">
                  <c:v>0.05357381325489623</c:v>
                </c:pt>
                <c:pt idx="12">
                  <c:v>0.04948355839984396</c:v>
                </c:pt>
                <c:pt idx="13">
                  <c:v>0.050979114139796985</c:v>
                </c:pt>
                <c:pt idx="14">
                  <c:v>0.057927592238825765</c:v>
                </c:pt>
                <c:pt idx="15">
                  <c:v>0.06289175617083854</c:v>
                </c:pt>
                <c:pt idx="16">
                  <c:v>0.06267553124458028</c:v>
                </c:pt>
                <c:pt idx="17">
                  <c:v>0.05989839234795062</c:v>
                </c:pt>
                <c:pt idx="18">
                  <c:v>0.051353003074785256</c:v>
                </c:pt>
                <c:pt idx="19">
                  <c:v>0.05131246090111183</c:v>
                </c:pt>
                <c:pt idx="20">
                  <c:v>0.057418562724926084</c:v>
                </c:pt>
                <c:pt idx="21">
                  <c:v>0.062664269529671</c:v>
                </c:pt>
                <c:pt idx="22">
                  <c:v>0.06245480163235828</c:v>
                </c:pt>
                <c:pt idx="23">
                  <c:v>0.05815903634212398</c:v>
                </c:pt>
                <c:pt idx="24">
                  <c:v>0.051519676455442656</c:v>
                </c:pt>
                <c:pt idx="25">
                  <c:v>0.05092055322226871</c:v>
                </c:pt>
                <c:pt idx="26">
                  <c:v>0.05717756202586739</c:v>
                </c:pt>
                <c:pt idx="27">
                  <c:v>0.06251561489286842</c:v>
                </c:pt>
                <c:pt idx="28">
                  <c:v>0.06263498907090684</c:v>
                </c:pt>
                <c:pt idx="29">
                  <c:v>0.058718164625457564</c:v>
                </c:pt>
                <c:pt idx="30">
                  <c:v>0.05115254454939998</c:v>
                </c:pt>
                <c:pt idx="31">
                  <c:v>0.05142057336424097</c:v>
                </c:pt>
                <c:pt idx="32">
                  <c:v>0.05145210616598696</c:v>
                </c:pt>
                <c:pt idx="33">
                  <c:v>0.05109538404684073</c:v>
                </c:pt>
                <c:pt idx="34">
                  <c:v>0.057519918159109645</c:v>
                </c:pt>
                <c:pt idx="35">
                  <c:v>0.0625584094095237</c:v>
                </c:pt>
                <c:pt idx="36">
                  <c:v>0.06254714769461442</c:v>
                </c:pt>
                <c:pt idx="37">
                  <c:v>0.06264399844283426</c:v>
                </c:pt>
                <c:pt idx="38">
                  <c:v>0.05849743501323558</c:v>
                </c:pt>
                <c:pt idx="39">
                  <c:v>0.051386788219513105</c:v>
                </c:pt>
                <c:pt idx="40">
                  <c:v>0.05148589131071481</c:v>
                </c:pt>
                <c:pt idx="41">
                  <c:v>0.05790901548600905</c:v>
                </c:pt>
                <c:pt idx="42">
                  <c:v>0.06260796095512455</c:v>
                </c:pt>
                <c:pt idx="43">
                  <c:v>0.06241876414464858</c:v>
                </c:pt>
                <c:pt idx="44">
                  <c:v>0.05842761238079801</c:v>
                </c:pt>
                <c:pt idx="45">
                  <c:v>0.05121786249587383</c:v>
                </c:pt>
                <c:pt idx="46">
                  <c:v>0.051278675756383965</c:v>
                </c:pt>
                <c:pt idx="47">
                  <c:v>0.05793885395373505</c:v>
                </c:pt>
                <c:pt idx="48">
                  <c:v>0.06268228827352584</c:v>
                </c:pt>
                <c:pt idx="49">
                  <c:v>0.0627517617981452</c:v>
                </c:pt>
                <c:pt idx="50">
                  <c:v>0.0625850812274019</c:v>
                </c:pt>
                <c:pt idx="51">
                  <c:v>0.05256701594200616</c:v>
                </c:pt>
                <c:pt idx="52">
                  <c:v>0.06122192841528624</c:v>
                </c:pt>
                <c:pt idx="53">
                  <c:v>0.06122192841528624</c:v>
                </c:pt>
                <c:pt idx="54">
                  <c:v>0.05831140611134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662530089777552"/>
          <c:min val="0.02396507138085434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5583</c:v>
                </c:pt>
                <c:pt idx="1">
                  <c:v>2.5396</c:v>
                </c:pt>
                <c:pt idx="2">
                  <c:v>2.7767</c:v>
                </c:pt>
                <c:pt idx="3">
                  <c:v>2.9992</c:v>
                </c:pt>
                <c:pt idx="4">
                  <c:v>3.0257</c:v>
                </c:pt>
                <c:pt idx="5">
                  <c:v>3.0091</c:v>
                </c:pt>
                <c:pt idx="6">
                  <c:v>2.8289</c:v>
                </c:pt>
                <c:pt idx="7">
                  <c:v>2.2731</c:v>
                </c:pt>
                <c:pt idx="8">
                  <c:v>2.2451</c:v>
                </c:pt>
                <c:pt idx="9">
                  <c:v>2.27</c:v>
                </c:pt>
                <c:pt idx="10">
                  <c:v>2.2231</c:v>
                </c:pt>
                <c:pt idx="11">
                  <c:v>2.7092</c:v>
                </c:pt>
                <c:pt idx="12">
                  <c:v>3.0102</c:v>
                </c:pt>
                <c:pt idx="13">
                  <c:v>2.9939</c:v>
                </c:pt>
                <c:pt idx="14">
                  <c:v>3.0119</c:v>
                </c:pt>
                <c:pt idx="15">
                  <c:v>3.0081</c:v>
                </c:pt>
                <c:pt idx="16">
                  <c:v>2.6738</c:v>
                </c:pt>
                <c:pt idx="17">
                  <c:v>2.5505</c:v>
                </c:pt>
                <c:pt idx="18">
                  <c:v>2.5543</c:v>
                </c:pt>
                <c:pt idx="19">
                  <c:v>2.8385</c:v>
                </c:pt>
                <c:pt idx="20">
                  <c:v>3.1791</c:v>
                </c:pt>
                <c:pt idx="21">
                  <c:v>3.0818</c:v>
                </c:pt>
                <c:pt idx="22">
                  <c:v>2.8254</c:v>
                </c:pt>
                <c:pt idx="23">
                  <c:v>2.6034</c:v>
                </c:pt>
                <c:pt idx="24">
                  <c:v>2.616</c:v>
                </c:pt>
                <c:pt idx="25">
                  <c:v>2.9625</c:v>
                </c:pt>
                <c:pt idx="26">
                  <c:v>3.0544</c:v>
                </c:pt>
                <c:pt idx="27">
                  <c:v>3.1444</c:v>
                </c:pt>
                <c:pt idx="28">
                  <c:v>2.7746</c:v>
                </c:pt>
                <c:pt idx="29">
                  <c:v>2.6305</c:v>
                </c:pt>
                <c:pt idx="30">
                  <c:v>2.6225</c:v>
                </c:pt>
                <c:pt idx="31">
                  <c:v>2.9278</c:v>
                </c:pt>
                <c:pt idx="32">
                  <c:v>3.1128</c:v>
                </c:pt>
                <c:pt idx="33">
                  <c:v>3.1051</c:v>
                </c:pt>
                <c:pt idx="34">
                  <c:v>2.7542</c:v>
                </c:pt>
                <c:pt idx="35">
                  <c:v>2.6246</c:v>
                </c:pt>
                <c:pt idx="36">
                  <c:v>2.6544</c:v>
                </c:pt>
                <c:pt idx="37">
                  <c:v>2.8255</c:v>
                </c:pt>
                <c:pt idx="38">
                  <c:v>3.1016</c:v>
                </c:pt>
                <c:pt idx="39">
                  <c:v>3.1071</c:v>
                </c:pt>
                <c:pt idx="40">
                  <c:v>3.1162</c:v>
                </c:pt>
                <c:pt idx="41">
                  <c:v>2.6567</c:v>
                </c:pt>
                <c:pt idx="42">
                  <c:v>2.6456</c:v>
                </c:pt>
                <c:pt idx="43">
                  <c:v>2.6317</c:v>
                </c:pt>
              </c:numCache>
            </c:numRef>
          </c:xVal>
          <c:yVal>
            <c:numRef>
              <c:f>Sheet1!$B$2:$B$45</c:f>
              <c:numCache>
                <c:formatCode>General</c:formatCode>
                <c:ptCount val="4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pt idx="14">
                  <c:v>0.04721683698070291</c:v>
                </c:pt>
                <c:pt idx="15">
                  <c:v>0.0487170082157261</c:v>
                </c:pt>
                <c:pt idx="16">
                  <c:v>0.06386071558360039</c:v>
                </c:pt>
                <c:pt idx="17">
                  <c:v>0.05555633584632862</c:v>
                </c:pt>
                <c:pt idx="18">
                  <c:v>0.04429987233814671</c:v>
                </c:pt>
                <c:pt idx="19">
                  <c:v>0.03528497681578129</c:v>
                </c:pt>
                <c:pt idx="20">
                  <c:v>0.029956339226067927</c:v>
                </c:pt>
                <c:pt idx="21">
                  <c:v>0.05120979823298573</c:v>
                </c:pt>
                <c:pt idx="22">
                  <c:v>0.061442804917318586</c:v>
                </c:pt>
                <c:pt idx="23">
                  <c:v>0.04789244476407367</c:v>
                </c:pt>
                <c:pt idx="24">
                  <c:v>0.042071226254498655</c:v>
                </c:pt>
                <c:pt idx="25">
                  <c:v>0.04031387844798024</c:v>
                </c:pt>
                <c:pt idx="26">
                  <c:v>0.04472050168638943</c:v>
                </c:pt>
                <c:pt idx="27">
                  <c:v>0.04208566050473132</c:v>
                </c:pt>
                <c:pt idx="28">
                  <c:v>0.05179045952874366</c:v>
                </c:pt>
                <c:pt idx="29">
                  <c:v>0.057888008102612375</c:v>
                </c:pt>
                <c:pt idx="30">
                  <c:v>0.04644034493737068</c:v>
                </c:pt>
                <c:pt idx="31">
                  <c:v>0.034612203903982154</c:v>
                </c:pt>
                <c:pt idx="32">
                  <c:v>0.03317042262887218</c:v>
                </c:pt>
                <c:pt idx="33">
                  <c:v>0.05516964868104957</c:v>
                </c:pt>
                <c:pt idx="34">
                  <c:v>0.042999715661027615</c:v>
                </c:pt>
                <c:pt idx="35">
                  <c:v>0.047217256986367896</c:v>
                </c:pt>
                <c:pt idx="36">
                  <c:v>0.05292772332307508</c:v>
                </c:pt>
                <c:pt idx="37">
                  <c:v>0.030093917832120173</c:v>
                </c:pt>
                <c:pt idx="38">
                  <c:v>0.03697234310745065</c:v>
                </c:pt>
                <c:pt idx="39">
                  <c:v>0.035645265960377294</c:v>
                </c:pt>
                <c:pt idx="40">
                  <c:v>0.03973260376636785</c:v>
                </c:pt>
                <c:pt idx="41">
                  <c:v>0.04754649233149667</c:v>
                </c:pt>
                <c:pt idx="42">
                  <c:v>0.03395561423326476</c:v>
                </c:pt>
                <c:pt idx="43">
                  <c:v>0.0376121207751740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numCache>
            </c:numRef>
          </c:xVal>
          <c:yVal>
            <c:numRef>
              <c:f>Sheet1!$B$48:$B$99</c:f>
              <c:numCache>
                <c:formatCode>General</c:formatCode>
                <c:ptCount val="52"/>
                <c:pt idx="0">
                  <c:v>0.04534005037783375</c:v>
                </c:pt>
                <c:pt idx="1">
                  <c:v>0.04086601382200842</c:v>
                </c:pt>
                <c:pt idx="2">
                  <c:v>0.039235978152095466</c:v>
                </c:pt>
                <c:pt idx="3">
                  <c:v>0.037027978800940387</c:v>
                </c:pt>
                <c:pt idx="4">
                  <c:v>0.05253020948762598</c:v>
                </c:pt>
                <c:pt idx="5">
                  <c:v>0.04897809908936387</c:v>
                </c:pt>
                <c:pt idx="6">
                  <c:v>0.04422837376651401</c:v>
                </c:pt>
                <c:pt idx="7">
                  <c:v>0.05408564630479583</c:v>
                </c:pt>
                <c:pt idx="8">
                  <c:v>0.0642555497871984</c:v>
                </c:pt>
                <c:pt idx="9">
                  <c:v>0.05320944827677519</c:v>
                </c:pt>
                <c:pt idx="10">
                  <c:v>0.0563570892935467</c:v>
                </c:pt>
                <c:pt idx="11">
                  <c:v>0.04633033290178769</c:v>
                </c:pt>
                <c:pt idx="12">
                  <c:v>0.0386188857747575</c:v>
                </c:pt>
                <c:pt idx="13">
                  <c:v>0.054942675995606434</c:v>
                </c:pt>
                <c:pt idx="14">
                  <c:v>0.06947711283182216</c:v>
                </c:pt>
                <c:pt idx="15">
                  <c:v>0.060383428669584654</c:v>
                </c:pt>
                <c:pt idx="16">
                  <c:v>0.05638195836507855</c:v>
                </c:pt>
                <c:pt idx="17">
                  <c:v>0.049706445805433604</c:v>
                </c:pt>
                <c:pt idx="18">
                  <c:v>0.048498096009537195</c:v>
                </c:pt>
                <c:pt idx="19">
                  <c:v>0.05445181319900868</c:v>
                </c:pt>
                <c:pt idx="20">
                  <c:v>0.06383212593989482</c:v>
                </c:pt>
                <c:pt idx="21">
                  <c:v>0.07001293942416267</c:v>
                </c:pt>
                <c:pt idx="22">
                  <c:v>0.0508786024682552</c:v>
                </c:pt>
                <c:pt idx="23">
                  <c:v>0.06584532321566107</c:v>
                </c:pt>
                <c:pt idx="24">
                  <c:v>0.05966762339715918</c:v>
                </c:pt>
                <c:pt idx="25">
                  <c:v>0.05459934441699196</c:v>
                </c:pt>
                <c:pt idx="26">
                  <c:v>0.06349426918087427</c:v>
                </c:pt>
                <c:pt idx="27">
                  <c:v>0.06984266931166572</c:v>
                </c:pt>
                <c:pt idx="28">
                  <c:v>0.06834967144593111</c:v>
                </c:pt>
                <c:pt idx="29">
                  <c:v>0.056318364853911326</c:v>
                </c:pt>
                <c:pt idx="30">
                  <c:v>0.053691566235202035</c:v>
                </c:pt>
                <c:pt idx="31">
                  <c:v>0.06068715936472836</c:v>
                </c:pt>
                <c:pt idx="32">
                  <c:v>0.037879433931294525</c:v>
                </c:pt>
                <c:pt idx="33">
                  <c:v>0.059967748887187984</c:v>
                </c:pt>
                <c:pt idx="34">
                  <c:v>0.0637369955231606</c:v>
                </c:pt>
                <c:pt idx="35">
                  <c:v>0.07218775074814628</c:v>
                </c:pt>
                <c:pt idx="36">
                  <c:v>0.06332436192640206</c:v>
                </c:pt>
                <c:pt idx="37">
                  <c:v>0.0653651319410137</c:v>
                </c:pt>
                <c:pt idx="38">
                  <c:v>0.06103994604920308</c:v>
                </c:pt>
                <c:pt idx="39">
                  <c:v>0.0577508263309754</c:v>
                </c:pt>
                <c:pt idx="40">
                  <c:v>0.06277791166594367</c:v>
                </c:pt>
                <c:pt idx="41">
                  <c:v>0.06744692593856512</c:v>
                </c:pt>
                <c:pt idx="42">
                  <c:v>0.0543591123502214</c:v>
                </c:pt>
                <c:pt idx="43">
                  <c:v>0.05974017199247768</c:v>
                </c:pt>
                <c:pt idx="44">
                  <c:v>0.06367050920955611</c:v>
                </c:pt>
                <c:pt idx="45">
                  <c:v>0.05107328100214597</c:v>
                </c:pt>
                <c:pt idx="46">
                  <c:v>0.04806168506828036</c:v>
                </c:pt>
                <c:pt idx="47">
                  <c:v>0.06376540682135745</c:v>
                </c:pt>
                <c:pt idx="48">
                  <c:v>0.06053504919784807</c:v>
                </c:pt>
                <c:pt idx="49">
                  <c:v>0.06912469292357976</c:v>
                </c:pt>
                <c:pt idx="50">
                  <c:v>0.04470528408885167</c:v>
                </c:pt>
                <c:pt idx="51">
                  <c:v>0.05503742285772611</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7454223825553767</c:v>
                </c:pt>
              </c:numCache>
            </c:numRef>
          </c:xVal>
          <c:yVal>
            <c:numRef>
              <c:f>Sheet1!$B$102:$B$103</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7454223825553767</c:v>
                </c:pt>
                <c:pt idx="1">
                  <c:v>2.7454223825553767</c:v>
                </c:pt>
              </c:numCache>
            </c:numRef>
          </c:xVal>
          <c:yVal>
            <c:numRef>
              <c:f>Sheet1!$B$106:$B$107</c:f>
              <c:numCache>
                <c:formatCode>General</c:formatCode>
                <c:ptCount val="2"/>
                <c:pt idx="0">
                  <c:v>0.061221928415286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7454223825553767</c:v>
                </c:pt>
              </c:numCache>
            </c:numRef>
          </c:xVal>
          <c:yVal>
            <c:numRef>
              <c:f>Sheet1!$B$110:$B$111</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7454223825553767</c:v>
                </c:pt>
                <c:pt idx="1">
                  <c:v>2.7454223825553767</c:v>
                </c:pt>
              </c:numCache>
            </c:numRef>
          </c:xVal>
          <c:yVal>
            <c:numRef>
              <c:f>Sheet1!$B$114:$B$115</c:f>
              <c:numCache>
                <c:formatCode>General</c:formatCode>
                <c:ptCount val="2"/>
                <c:pt idx="0">
                  <c:v>0.061221928415286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87464485916357</c:v>
                </c:pt>
              </c:numCache>
            </c:numRef>
          </c:xVal>
          <c:yVal>
            <c:numRef>
              <c:f>Sheet1!$B$118:$B$119</c:f>
              <c:numCache>
                <c:formatCode>General</c:formatCode>
                <c:ptCount val="2"/>
                <c:pt idx="0">
                  <c:v>0.058311406111348364</c:v>
                </c:pt>
                <c:pt idx="1">
                  <c:v>0.058311406111348364</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87464485916357</c:v>
                </c:pt>
                <c:pt idx="1">
                  <c:v>2.87464485916357</c:v>
                </c:pt>
              </c:numCache>
            </c:numRef>
          </c:xVal>
          <c:yVal>
            <c:numRef>
              <c:f>Sheet1!$B$122:$B$123</c:f>
              <c:numCache>
                <c:formatCode>General</c:formatCode>
                <c:ptCount val="2"/>
                <c:pt idx="0">
                  <c:v>0.0583114061113483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pt idx="52">
                  <c:v>2.7454223825553767</c:v>
                </c:pt>
                <c:pt idx="53">
                  <c:v>2.7454223825553767</c:v>
                </c:pt>
                <c:pt idx="54">
                  <c:v>2.87464485916357</c:v>
                </c:pt>
              </c:numCache>
            </c:numRef>
          </c:xVal>
          <c:yVal>
            <c:numRef>
              <c:f>Sheet1!$B$126:$B$180</c:f>
              <c:numCache>
                <c:formatCode>General</c:formatCode>
                <c:ptCount val="55"/>
                <c:pt idx="0">
                  <c:v>0.054708681436402465</c:v>
                </c:pt>
                <c:pt idx="1">
                  <c:v>0.052361748982926365</c:v>
                </c:pt>
                <c:pt idx="2">
                  <c:v>0.052213094911976815</c:v>
                </c:pt>
                <c:pt idx="3">
                  <c:v>0.05246986103452603</c:v>
                </c:pt>
                <c:pt idx="4">
                  <c:v>0.05218831923348523</c:v>
                </c:pt>
                <c:pt idx="5">
                  <c:v>0.05227616027540996</c:v>
                </c:pt>
                <c:pt idx="6">
                  <c:v>0.0521432725453187</c:v>
                </c:pt>
                <c:pt idx="7">
                  <c:v>0.05024680697350786</c:v>
                </c:pt>
                <c:pt idx="8">
                  <c:v>0.05473796178371072</c:v>
                </c:pt>
                <c:pt idx="9">
                  <c:v>0.06081476001737537</c:v>
                </c:pt>
                <c:pt idx="10">
                  <c:v>0.06108954481519119</c:v>
                </c:pt>
                <c:pt idx="11">
                  <c:v>0.05357350489460597</c:v>
                </c:pt>
                <c:pt idx="12">
                  <c:v>0.04948326560908521</c:v>
                </c:pt>
                <c:pt idx="13">
                  <c:v>0.05097881565621394</c:v>
                </c:pt>
                <c:pt idx="14">
                  <c:v>0.057927267305900906</c:v>
                </c:pt>
                <c:pt idx="15">
                  <c:v>0.06289141234185232</c:v>
                </c:pt>
                <c:pt idx="16">
                  <c:v>0.06267518823865298</c:v>
                </c:pt>
                <c:pt idx="17">
                  <c:v>0.05989805991318653</c:v>
                </c:pt>
                <c:pt idx="18">
                  <c:v>0.05135270316799612</c:v>
                </c:pt>
                <c:pt idx="19">
                  <c:v>0.05131216114864626</c:v>
                </c:pt>
                <c:pt idx="20">
                  <c:v>0.05741823972961915</c:v>
                </c:pt>
                <c:pt idx="21">
                  <c:v>0.06266392656661135</c:v>
                </c:pt>
                <c:pt idx="22">
                  <c:v>0.06245445946663699</c:v>
                </c:pt>
                <c:pt idx="23">
                  <c:v>0.05816151008436686</c:v>
                </c:pt>
                <c:pt idx="24">
                  <c:v>0.05151937591421228</c:v>
                </c:pt>
                <c:pt idx="25">
                  <c:v>0.05092025496159745</c:v>
                </c:pt>
                <c:pt idx="26">
                  <c:v>0.05717723994792823</c:v>
                </c:pt>
                <c:pt idx="27">
                  <c:v>0.0625152724956618</c:v>
                </c:pt>
                <c:pt idx="28">
                  <c:v>0.0626346462193031</c:v>
                </c:pt>
                <c:pt idx="29">
                  <c:v>0.05871783668322349</c:v>
                </c:pt>
                <c:pt idx="30">
                  <c:v>0.05115224540565508</c:v>
                </c:pt>
                <c:pt idx="31">
                  <c:v>0.05142027320024592</c:v>
                </c:pt>
                <c:pt idx="32">
                  <c:v>0.05145180588196249</c:v>
                </c:pt>
                <c:pt idx="33">
                  <c:v>0.05109818937985525</c:v>
                </c:pt>
                <c:pt idx="34">
                  <c:v>0.05751959477799383</c:v>
                </c:pt>
                <c:pt idx="35">
                  <c:v>0.06255806684942</c:v>
                </c:pt>
                <c:pt idx="36">
                  <c:v>0.06254680517737837</c:v>
                </c:pt>
                <c:pt idx="37">
                  <c:v>0.0626436555569364</c:v>
                </c:pt>
                <c:pt idx="38">
                  <c:v>0.05849710791120749</c:v>
                </c:pt>
                <c:pt idx="39">
                  <c:v>0.05138648818412102</c:v>
                </c:pt>
                <c:pt idx="40">
                  <c:v>0.05148559089808738</c:v>
                </c:pt>
                <c:pt idx="41">
                  <c:v>0.057911500965042634</c:v>
                </c:pt>
                <c:pt idx="42">
                  <c:v>0.06260761820640319</c:v>
                </c:pt>
                <c:pt idx="43">
                  <c:v>0.062418422116103774</c:v>
                </c:pt>
                <c:pt idx="44">
                  <c:v>0.05842728554454937</c:v>
                </c:pt>
                <c:pt idx="45">
                  <c:v>0.05121756310349654</c:v>
                </c:pt>
                <c:pt idx="46">
                  <c:v>0.051278376132521356</c:v>
                </c:pt>
                <c:pt idx="47">
                  <c:v>0.05793852897794255</c:v>
                </c:pt>
                <c:pt idx="48">
                  <c:v>0.06268194524187795</c:v>
                </c:pt>
                <c:pt idx="49">
                  <c:v>0.06275401994294441</c:v>
                </c:pt>
                <c:pt idx="50">
                  <c:v>0.06258734719672826</c:v>
                </c:pt>
                <c:pt idx="51">
                  <c:v>0.05256671141408406</c:v>
                </c:pt>
                <c:pt idx="52">
                  <c:v>0.06122192841528624</c:v>
                </c:pt>
                <c:pt idx="53">
                  <c:v>0.06122192841528624</c:v>
                </c:pt>
                <c:pt idx="54">
                  <c:v>0.05831140611134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662530089777552"/>
          <c:min val="0.02396507138085434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49780121419676215</c:v>
                </c:pt>
                <c:pt idx="1">
                  <c:v>0.49415290020041636</c:v>
                </c:pt>
                <c:pt idx="2">
                  <c:v>0.5403296425305026</c:v>
                </c:pt>
                <c:pt idx="3">
                  <c:v>0.5835700665447329</c:v>
                </c:pt>
                <c:pt idx="4">
                  <c:v>0.5888294249294542</c:v>
                </c:pt>
                <c:pt idx="5">
                  <c:v>0.58549636144297</c:v>
                </c:pt>
                <c:pt idx="6">
                  <c:v>0.5505517389019714</c:v>
                </c:pt>
                <c:pt idx="7">
                  <c:v>0.4423234092235843</c:v>
                </c:pt>
                <c:pt idx="8">
                  <c:v>0.43692589132803983</c:v>
                </c:pt>
                <c:pt idx="9">
                  <c:v>0.4417029887920299</c:v>
                </c:pt>
                <c:pt idx="10">
                  <c:v>0.43259388986184083</c:v>
                </c:pt>
                <c:pt idx="11">
                  <c:v>0.5271329895904271</c:v>
                </c:pt>
                <c:pt idx="12">
                  <c:v>0.5857445856278337</c:v>
                </c:pt>
                <c:pt idx="13">
                  <c:v>0.5826635268474009</c:v>
                </c:pt>
                <c:pt idx="14">
                  <c:v>0.5859955640297287</c:v>
                </c:pt>
                <c:pt idx="15">
                  <c:v>0.5853815167260202</c:v>
                </c:pt>
                <c:pt idx="16">
                  <c:v>0.5203565312159427</c:v>
                </c:pt>
                <c:pt idx="17">
                  <c:v>0.4963124404055343</c:v>
                </c:pt>
                <c:pt idx="18">
                  <c:v>0.49708091698127893</c:v>
                </c:pt>
                <c:pt idx="19">
                  <c:v>0.5523125717510166</c:v>
                </c:pt>
                <c:pt idx="20">
                  <c:v>0.6186704549877399</c:v>
                </c:pt>
                <c:pt idx="21">
                  <c:v>0.5996069809521956</c:v>
                </c:pt>
                <c:pt idx="22">
                  <c:v>0.5498170779170235</c:v>
                </c:pt>
                <c:pt idx="23">
                  <c:v>0.5065867564359519</c:v>
                </c:pt>
                <c:pt idx="24">
                  <c:v>0.5090286425902865</c:v>
                </c:pt>
                <c:pt idx="25">
                  <c:v>0.576417939488277</c:v>
                </c:pt>
                <c:pt idx="26">
                  <c:v>0.5943800108974858</c:v>
                </c:pt>
                <c:pt idx="27">
                  <c:v>0.6118700136213271</c:v>
                </c:pt>
                <c:pt idx="28">
                  <c:v>0.5399630242288606</c:v>
                </c:pt>
                <c:pt idx="29">
                  <c:v>0.5119397466088006</c:v>
                </c:pt>
                <c:pt idx="30">
                  <c:v>0.5103232209227656</c:v>
                </c:pt>
                <c:pt idx="31">
                  <c:v>0.5696552260876333</c:v>
                </c:pt>
                <c:pt idx="32">
                  <c:v>0.6057681080449928</c:v>
                </c:pt>
                <c:pt idx="33">
                  <c:v>0.6042931651876071</c:v>
                </c:pt>
                <c:pt idx="34">
                  <c:v>0.5359721330297545</c:v>
                </c:pt>
                <c:pt idx="35">
                  <c:v>0.5107616860623516</c:v>
                </c:pt>
                <c:pt idx="36">
                  <c:v>0.5165810368986454</c:v>
                </c:pt>
                <c:pt idx="37">
                  <c:v>0.5498900414533989</c:v>
                </c:pt>
                <c:pt idx="38">
                  <c:v>0.6036002724530505</c:v>
                </c:pt>
                <c:pt idx="39">
                  <c:v>0.6045647351830953</c:v>
                </c:pt>
                <c:pt idx="40">
                  <c:v>0.6064179656333314</c:v>
                </c:pt>
                <c:pt idx="41">
                  <c:v>0.516887816646562</c:v>
                </c:pt>
                <c:pt idx="42">
                  <c:v>0.5148183463387106</c:v>
                </c:pt>
                <c:pt idx="43">
                  <c:v>0.5120537017219574</c:v>
                </c:pt>
              </c:numCache>
            </c:numRef>
          </c:xVal>
          <c:yVal>
            <c:numRef>
              <c:f>Sheet1!$B$2:$B$45</c:f>
              <c:numCache>
                <c:formatCode>General</c:formatCode>
                <c:ptCount val="4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pt idx="14">
                  <c:v>0.04721683698070291</c:v>
                </c:pt>
                <c:pt idx="15">
                  <c:v>0.0487170082157261</c:v>
                </c:pt>
                <c:pt idx="16">
                  <c:v>0.06386071558360039</c:v>
                </c:pt>
                <c:pt idx="17">
                  <c:v>0.05555633584632862</c:v>
                </c:pt>
                <c:pt idx="18">
                  <c:v>0.04429987233814671</c:v>
                </c:pt>
                <c:pt idx="19">
                  <c:v>0.03528497681578129</c:v>
                </c:pt>
                <c:pt idx="20">
                  <c:v>0.029956339226067927</c:v>
                </c:pt>
                <c:pt idx="21">
                  <c:v>0.05120979823298573</c:v>
                </c:pt>
                <c:pt idx="22">
                  <c:v>0.061442804917318586</c:v>
                </c:pt>
                <c:pt idx="23">
                  <c:v>0.04789244476407367</c:v>
                </c:pt>
                <c:pt idx="24">
                  <c:v>0.042071226254498655</c:v>
                </c:pt>
                <c:pt idx="25">
                  <c:v>0.04031387844798024</c:v>
                </c:pt>
                <c:pt idx="26">
                  <c:v>0.04472050168638943</c:v>
                </c:pt>
                <c:pt idx="27">
                  <c:v>0.04208566050473132</c:v>
                </c:pt>
                <c:pt idx="28">
                  <c:v>0.05179045952874366</c:v>
                </c:pt>
                <c:pt idx="29">
                  <c:v>0.057888008102612375</c:v>
                </c:pt>
                <c:pt idx="30">
                  <c:v>0.04644034493737068</c:v>
                </c:pt>
                <c:pt idx="31">
                  <c:v>0.034612203903982154</c:v>
                </c:pt>
                <c:pt idx="32">
                  <c:v>0.03317042262887218</c:v>
                </c:pt>
                <c:pt idx="33">
                  <c:v>0.05516964868104957</c:v>
                </c:pt>
                <c:pt idx="34">
                  <c:v>0.042999715661027615</c:v>
                </c:pt>
                <c:pt idx="35">
                  <c:v>0.047217256986367896</c:v>
                </c:pt>
                <c:pt idx="36">
                  <c:v>0.05292772332307508</c:v>
                </c:pt>
                <c:pt idx="37">
                  <c:v>0.030093917832120173</c:v>
                </c:pt>
                <c:pt idx="38">
                  <c:v>0.03697234310745065</c:v>
                </c:pt>
                <c:pt idx="39">
                  <c:v>0.035645265960377294</c:v>
                </c:pt>
                <c:pt idx="40">
                  <c:v>0.03973260376636785</c:v>
                </c:pt>
                <c:pt idx="41">
                  <c:v>0.04754649233149667</c:v>
                </c:pt>
                <c:pt idx="42">
                  <c:v>0.03395561423326476</c:v>
                </c:pt>
                <c:pt idx="43">
                  <c:v>0.0376121207751740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904924986865405</c:v>
                </c:pt>
                <c:pt idx="1">
                  <c:v>0.6108040787732545</c:v>
                </c:pt>
                <c:pt idx="2">
                  <c:v>0.612076514429158</c:v>
                </c:pt>
                <c:pt idx="3">
                  <c:v>0.6098818767392531</c:v>
                </c:pt>
                <c:pt idx="4">
                  <c:v>0.612350147905963</c:v>
                </c:pt>
                <c:pt idx="5">
                  <c:v>0.611460258780037</c:v>
                </c:pt>
                <c:pt idx="6">
                  <c:v>0.6126797563680944</c:v>
                </c:pt>
                <c:pt idx="7">
                  <c:v>0.6291992681692553</c:v>
                </c:pt>
                <c:pt idx="8">
                  <c:v>0.5902050823053274</c:v>
                </c:pt>
                <c:pt idx="9">
                  <c:v>0.5378656649603923</c:v>
                </c:pt>
                <c:pt idx="10">
                  <c:v>0.5353452804856692</c:v>
                </c:pt>
                <c:pt idx="11">
                  <c:v>0.6002062296931847</c:v>
                </c:pt>
                <c:pt idx="12">
                  <c:v>0.6356118537544023</c:v>
                </c:pt>
                <c:pt idx="13">
                  <c:v>0.6228372355539986</c:v>
                </c:pt>
                <c:pt idx="14">
                  <c:v>0.5626641760551048</c:v>
                </c:pt>
                <c:pt idx="15">
                  <c:v>0.5197890722291407</c:v>
                </c:pt>
                <c:pt idx="16">
                  <c:v>0.5217078249362679</c:v>
                </c:pt>
                <c:pt idx="17">
                  <c:v>0.5456809823113896</c:v>
                </c:pt>
                <c:pt idx="18">
                  <c:v>0.6194135844504542</c:v>
                </c:pt>
                <c:pt idx="19">
                  <c:v>0.6198723437378376</c:v>
                </c:pt>
                <c:pt idx="20">
                  <c:v>0.5671058008523225</c:v>
                </c:pt>
                <c:pt idx="21">
                  <c:v>0.521845746647724</c:v>
                </c:pt>
                <c:pt idx="22">
                  <c:v>0.5234926749547657</c:v>
                </c:pt>
                <c:pt idx="23">
                  <c:v>0.5605860150200397</c:v>
                </c:pt>
                <c:pt idx="24">
                  <c:v>0.6179497655596413</c:v>
                </c:pt>
                <c:pt idx="25">
                  <c:v>0.623246220008173</c:v>
                </c:pt>
                <c:pt idx="26">
                  <c:v>0.5691547322540473</c:v>
                </c:pt>
                <c:pt idx="27">
                  <c:v>0.5230487828608122</c:v>
                </c:pt>
                <c:pt idx="28">
                  <c:v>0.5219870023738179</c:v>
                </c:pt>
                <c:pt idx="29">
                  <c:v>0.5558993519761807</c:v>
                </c:pt>
                <c:pt idx="30">
                  <c:v>0.6211693744527678</c:v>
                </c:pt>
                <c:pt idx="31">
                  <c:v>0.6190105484410883</c:v>
                </c:pt>
                <c:pt idx="32">
                  <c:v>0.6185334345026168</c:v>
                </c:pt>
                <c:pt idx="33">
                  <c:v>0.621696828176688</c:v>
                </c:pt>
                <c:pt idx="34">
                  <c:v>0.5662411457927922</c:v>
                </c:pt>
                <c:pt idx="35">
                  <c:v>0.5226892391515859</c:v>
                </c:pt>
                <c:pt idx="36">
                  <c:v>0.5227967074665785</c:v>
                </c:pt>
                <c:pt idx="37">
                  <c:v>0.5220412214631869</c:v>
                </c:pt>
                <c:pt idx="38">
                  <c:v>0.5577955943021717</c:v>
                </c:pt>
                <c:pt idx="39">
                  <c:v>0.619254271591484</c:v>
                </c:pt>
                <c:pt idx="40">
                  <c:v>0.6183859731060385</c:v>
                </c:pt>
                <c:pt idx="41">
                  <c:v>0.5627237354085604</c:v>
                </c:pt>
                <c:pt idx="42">
                  <c:v>0.5222713031971823</c:v>
                </c:pt>
                <c:pt idx="43">
                  <c:v>0.5238956995524421</c:v>
                </c:pt>
                <c:pt idx="44">
                  <c:v>0.5584205814813373</c:v>
                </c:pt>
                <c:pt idx="45">
                  <c:v>0.6207379729098552</c:v>
                </c:pt>
                <c:pt idx="46">
                  <c:v>0.6201763091832565</c:v>
                </c:pt>
                <c:pt idx="47">
                  <c:v>0.562544994649285</c:v>
                </c:pt>
                <c:pt idx="48">
                  <c:v>0.5218728706317531</c:v>
                </c:pt>
                <c:pt idx="49">
                  <c:v>0.5209050759742407</c:v>
                </c:pt>
                <c:pt idx="50">
                  <c:v>0.5224057751055591</c:v>
                </c:pt>
                <c:pt idx="51">
                  <c:v>0.60897398478392</c:v>
                </c:pt>
              </c:numCache>
            </c:numRef>
          </c:xVal>
          <c:yVal>
            <c:numRef>
              <c:f>Sheet1!$B$48:$B$99</c:f>
              <c:numCache>
                <c:formatCode>General</c:formatCode>
                <c:ptCount val="52"/>
                <c:pt idx="0">
                  <c:v>0.04534005037783375</c:v>
                </c:pt>
                <c:pt idx="1">
                  <c:v>0.04086601382200842</c:v>
                </c:pt>
                <c:pt idx="2">
                  <c:v>0.039235978152095466</c:v>
                </c:pt>
                <c:pt idx="3">
                  <c:v>0.037027978800940387</c:v>
                </c:pt>
                <c:pt idx="4">
                  <c:v>0.05253020948762598</c:v>
                </c:pt>
                <c:pt idx="5">
                  <c:v>0.04897809908936387</c:v>
                </c:pt>
                <c:pt idx="6">
                  <c:v>0.04422837376651401</c:v>
                </c:pt>
                <c:pt idx="7">
                  <c:v>0.05408564630479583</c:v>
                </c:pt>
                <c:pt idx="8">
                  <c:v>0.0642555497871984</c:v>
                </c:pt>
                <c:pt idx="9">
                  <c:v>0.05320944827677519</c:v>
                </c:pt>
                <c:pt idx="10">
                  <c:v>0.0563570892935467</c:v>
                </c:pt>
                <c:pt idx="11">
                  <c:v>0.04633033290178769</c:v>
                </c:pt>
                <c:pt idx="12">
                  <c:v>0.0386188857747575</c:v>
                </c:pt>
                <c:pt idx="13">
                  <c:v>0.054942675995606434</c:v>
                </c:pt>
                <c:pt idx="14">
                  <c:v>0.06947711283182216</c:v>
                </c:pt>
                <c:pt idx="15">
                  <c:v>0.060383428669584654</c:v>
                </c:pt>
                <c:pt idx="16">
                  <c:v>0.05638195836507855</c:v>
                </c:pt>
                <c:pt idx="17">
                  <c:v>0.049706445805433604</c:v>
                </c:pt>
                <c:pt idx="18">
                  <c:v>0.048498096009537195</c:v>
                </c:pt>
                <c:pt idx="19">
                  <c:v>0.05445181319900868</c:v>
                </c:pt>
                <c:pt idx="20">
                  <c:v>0.06383212593989482</c:v>
                </c:pt>
                <c:pt idx="21">
                  <c:v>0.07001293942416267</c:v>
                </c:pt>
                <c:pt idx="22">
                  <c:v>0.0508786024682552</c:v>
                </c:pt>
                <c:pt idx="23">
                  <c:v>0.06584532321566107</c:v>
                </c:pt>
                <c:pt idx="24">
                  <c:v>0.05966762339715918</c:v>
                </c:pt>
                <c:pt idx="25">
                  <c:v>0.05459934441699196</c:v>
                </c:pt>
                <c:pt idx="26">
                  <c:v>0.06349426918087427</c:v>
                </c:pt>
                <c:pt idx="27">
                  <c:v>0.06984266931166572</c:v>
                </c:pt>
                <c:pt idx="28">
                  <c:v>0.06834967144593111</c:v>
                </c:pt>
                <c:pt idx="29">
                  <c:v>0.056318364853911326</c:v>
                </c:pt>
                <c:pt idx="30">
                  <c:v>0.053691566235202035</c:v>
                </c:pt>
                <c:pt idx="31">
                  <c:v>0.06068715936472836</c:v>
                </c:pt>
                <c:pt idx="32">
                  <c:v>0.037879433931294525</c:v>
                </c:pt>
                <c:pt idx="33">
                  <c:v>0.059967748887187984</c:v>
                </c:pt>
                <c:pt idx="34">
                  <c:v>0.0637369955231606</c:v>
                </c:pt>
                <c:pt idx="35">
                  <c:v>0.07218775074814628</c:v>
                </c:pt>
                <c:pt idx="36">
                  <c:v>0.06332436192640206</c:v>
                </c:pt>
                <c:pt idx="37">
                  <c:v>0.0653651319410137</c:v>
                </c:pt>
                <c:pt idx="38">
                  <c:v>0.06103994604920308</c:v>
                </c:pt>
                <c:pt idx="39">
                  <c:v>0.0577508263309754</c:v>
                </c:pt>
                <c:pt idx="40">
                  <c:v>0.06277791166594367</c:v>
                </c:pt>
                <c:pt idx="41">
                  <c:v>0.06744692593856512</c:v>
                </c:pt>
                <c:pt idx="42">
                  <c:v>0.0543591123502214</c:v>
                </c:pt>
                <c:pt idx="43">
                  <c:v>0.05974017199247768</c:v>
                </c:pt>
                <c:pt idx="44">
                  <c:v>0.06367050920955611</c:v>
                </c:pt>
                <c:pt idx="45">
                  <c:v>0.05107328100214597</c:v>
                </c:pt>
                <c:pt idx="46">
                  <c:v>0.04806168506828036</c:v>
                </c:pt>
                <c:pt idx="47">
                  <c:v>0.06376540682135745</c:v>
                </c:pt>
                <c:pt idx="48">
                  <c:v>0.06053504919784807</c:v>
                </c:pt>
                <c:pt idx="49">
                  <c:v>0.06912469292357976</c:v>
                </c:pt>
                <c:pt idx="50">
                  <c:v>0.04470528408885167</c:v>
                </c:pt>
                <c:pt idx="51">
                  <c:v>0.05503742285772611</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5342339883834832</c:v>
                </c:pt>
              </c:numCache>
            </c:numRef>
          </c:xVal>
          <c:yVal>
            <c:numRef>
              <c:f>Sheet1!$B$102:$B$103</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5342339883834832</c:v>
                </c:pt>
                <c:pt idx="1">
                  <c:v>0.5342339883834832</c:v>
                </c:pt>
              </c:numCache>
            </c:numRef>
          </c:xVal>
          <c:yVal>
            <c:numRef>
              <c:f>Sheet1!$B$106:$B$107</c:f>
              <c:numCache>
                <c:formatCode>General</c:formatCode>
                <c:ptCount val="2"/>
                <c:pt idx="0">
                  <c:v>0.0612219284152862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5342339883834832</c:v>
                </c:pt>
              </c:numCache>
            </c:numRef>
          </c:xVal>
          <c:yVal>
            <c:numRef>
              <c:f>Sheet1!$B$110:$B$111</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5342339883834832</c:v>
                </c:pt>
                <c:pt idx="1">
                  <c:v>0.5342339883834832</c:v>
                </c:pt>
              </c:numCache>
            </c:numRef>
          </c:xVal>
          <c:yVal>
            <c:numRef>
              <c:f>Sheet1!$B$114:$B$115</c:f>
              <c:numCache>
                <c:formatCode>General</c:formatCode>
                <c:ptCount val="2"/>
                <c:pt idx="0">
                  <c:v>0.0612219284152862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5593808393717152</c:v>
                </c:pt>
              </c:numCache>
            </c:numRef>
          </c:xVal>
          <c:yVal>
            <c:numRef>
              <c:f>Sheet1!$B$118:$B$119</c:f>
              <c:numCache>
                <c:formatCode>General</c:formatCode>
                <c:ptCount val="2"/>
                <c:pt idx="0">
                  <c:v>0.058311406111348364</c:v>
                </c:pt>
                <c:pt idx="1">
                  <c:v>0.058311406111348364</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5593808393717152</c:v>
                </c:pt>
                <c:pt idx="1">
                  <c:v>0.5593808393717152</c:v>
                </c:pt>
              </c:numCache>
            </c:numRef>
          </c:xVal>
          <c:yVal>
            <c:numRef>
              <c:f>Sheet1!$B$122:$B$123</c:f>
              <c:numCache>
                <c:formatCode>General</c:formatCode>
                <c:ptCount val="2"/>
                <c:pt idx="0">
                  <c:v>0.0583114061113483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904924986865405</c:v>
                </c:pt>
                <c:pt idx="1">
                  <c:v>0.6108040787732545</c:v>
                </c:pt>
                <c:pt idx="2">
                  <c:v>0.612076514429158</c:v>
                </c:pt>
                <c:pt idx="3">
                  <c:v>0.6098818767392531</c:v>
                </c:pt>
                <c:pt idx="4">
                  <c:v>0.612350147905963</c:v>
                </c:pt>
                <c:pt idx="5">
                  <c:v>0.611460258780037</c:v>
                </c:pt>
                <c:pt idx="6">
                  <c:v>0.6126797563680944</c:v>
                </c:pt>
                <c:pt idx="7">
                  <c:v>0.6291992681692553</c:v>
                </c:pt>
                <c:pt idx="8">
                  <c:v>0.5902050823053274</c:v>
                </c:pt>
                <c:pt idx="9">
                  <c:v>0.5378656649603923</c:v>
                </c:pt>
                <c:pt idx="10">
                  <c:v>0.5353452804856692</c:v>
                </c:pt>
                <c:pt idx="11">
                  <c:v>0.6002062296931847</c:v>
                </c:pt>
                <c:pt idx="12">
                  <c:v>0.6356118537544023</c:v>
                </c:pt>
                <c:pt idx="13">
                  <c:v>0.6228372355539986</c:v>
                </c:pt>
                <c:pt idx="14">
                  <c:v>0.5626641760551048</c:v>
                </c:pt>
                <c:pt idx="15">
                  <c:v>0.5197890722291407</c:v>
                </c:pt>
                <c:pt idx="16">
                  <c:v>0.5217078249362679</c:v>
                </c:pt>
                <c:pt idx="17">
                  <c:v>0.5456809823113896</c:v>
                </c:pt>
                <c:pt idx="18">
                  <c:v>0.6194135844504542</c:v>
                </c:pt>
                <c:pt idx="19">
                  <c:v>0.6198723437378376</c:v>
                </c:pt>
                <c:pt idx="20">
                  <c:v>0.5671058008523225</c:v>
                </c:pt>
                <c:pt idx="21">
                  <c:v>0.521845746647724</c:v>
                </c:pt>
                <c:pt idx="22">
                  <c:v>0.5234926749547657</c:v>
                </c:pt>
                <c:pt idx="23">
                  <c:v>0.5605860150200397</c:v>
                </c:pt>
                <c:pt idx="24">
                  <c:v>0.6179497655596413</c:v>
                </c:pt>
                <c:pt idx="25">
                  <c:v>0.623246220008173</c:v>
                </c:pt>
                <c:pt idx="26">
                  <c:v>0.5691547322540473</c:v>
                </c:pt>
                <c:pt idx="27">
                  <c:v>0.5230487828608122</c:v>
                </c:pt>
                <c:pt idx="28">
                  <c:v>0.5219870023738179</c:v>
                </c:pt>
                <c:pt idx="29">
                  <c:v>0.5558993519761807</c:v>
                </c:pt>
                <c:pt idx="30">
                  <c:v>0.6211693744527678</c:v>
                </c:pt>
                <c:pt idx="31">
                  <c:v>0.6190105484410883</c:v>
                </c:pt>
                <c:pt idx="32">
                  <c:v>0.6185334345026168</c:v>
                </c:pt>
                <c:pt idx="33">
                  <c:v>0.621696828176688</c:v>
                </c:pt>
                <c:pt idx="34">
                  <c:v>0.5662411457927922</c:v>
                </c:pt>
                <c:pt idx="35">
                  <c:v>0.5226892391515859</c:v>
                </c:pt>
                <c:pt idx="36">
                  <c:v>0.5227967074665785</c:v>
                </c:pt>
                <c:pt idx="37">
                  <c:v>0.5220412214631869</c:v>
                </c:pt>
                <c:pt idx="38">
                  <c:v>0.5577955943021717</c:v>
                </c:pt>
                <c:pt idx="39">
                  <c:v>0.619254271591484</c:v>
                </c:pt>
                <c:pt idx="40">
                  <c:v>0.6183859731060385</c:v>
                </c:pt>
                <c:pt idx="41">
                  <c:v>0.5627237354085604</c:v>
                </c:pt>
                <c:pt idx="42">
                  <c:v>0.5222713031971823</c:v>
                </c:pt>
                <c:pt idx="43">
                  <c:v>0.5238956995524421</c:v>
                </c:pt>
                <c:pt idx="44">
                  <c:v>0.5584205814813373</c:v>
                </c:pt>
                <c:pt idx="45">
                  <c:v>0.6207379729098552</c:v>
                </c:pt>
                <c:pt idx="46">
                  <c:v>0.6201763091832565</c:v>
                </c:pt>
                <c:pt idx="47">
                  <c:v>0.562544994649285</c:v>
                </c:pt>
                <c:pt idx="48">
                  <c:v>0.5218728706317531</c:v>
                </c:pt>
                <c:pt idx="49">
                  <c:v>0.5209050759742407</c:v>
                </c:pt>
                <c:pt idx="50">
                  <c:v>0.5224057751055591</c:v>
                </c:pt>
                <c:pt idx="51">
                  <c:v>0.60897398478392</c:v>
                </c:pt>
                <c:pt idx="52">
                  <c:v>0.5342339883834832</c:v>
                </c:pt>
                <c:pt idx="53">
                  <c:v>0.5342339883834832</c:v>
                </c:pt>
                <c:pt idx="54">
                  <c:v>0.5593808393717152</c:v>
                </c:pt>
              </c:numCache>
            </c:numRef>
          </c:xVal>
          <c:yVal>
            <c:numRef>
              <c:f>Sheet1!$B$126:$B$180</c:f>
              <c:numCache>
                <c:formatCode>General</c:formatCode>
                <c:ptCount val="55"/>
                <c:pt idx="0">
                  <c:v>0.054710510778939125</c:v>
                </c:pt>
                <c:pt idx="1">
                  <c:v>0.05235962768434145</c:v>
                </c:pt>
                <c:pt idx="2">
                  <c:v>0.05221235467753173</c:v>
                </c:pt>
                <c:pt idx="3">
                  <c:v>0.05246636429283187</c:v>
                </c:pt>
                <c:pt idx="4">
                  <c:v>0.05218068405850601</c:v>
                </c:pt>
                <c:pt idx="5">
                  <c:v>0.05228368073790143</c:v>
                </c:pt>
                <c:pt idx="6">
                  <c:v>0.05214253483731529</c:v>
                </c:pt>
                <c:pt idx="7">
                  <c:v>0.05023054961220921</c:v>
                </c:pt>
                <c:pt idx="8">
                  <c:v>0.0547437766454458</c:v>
                </c:pt>
                <c:pt idx="9">
                  <c:v>0.060801594446522944</c:v>
                </c:pt>
                <c:pt idx="10">
                  <c:v>0.061093306328524125</c:v>
                </c:pt>
                <c:pt idx="11">
                  <c:v>0.05358623359757271</c:v>
                </c:pt>
                <c:pt idx="12">
                  <c:v>0.0494883503849495</c:v>
                </c:pt>
                <c:pt idx="13">
                  <c:v>0.05096689778692699</c:v>
                </c:pt>
                <c:pt idx="14">
                  <c:v>0.05793138935884068</c:v>
                </c:pt>
                <c:pt idx="15">
                  <c:v>0.06289379781417839</c:v>
                </c:pt>
                <c:pt idx="16">
                  <c:v>0.06267171940951262</c:v>
                </c:pt>
                <c:pt idx="17">
                  <c:v>0.05989704160716047</c:v>
                </c:pt>
                <c:pt idx="18">
                  <c:v>0.051363154674217995</c:v>
                </c:pt>
                <c:pt idx="19">
                  <c:v>0.051310057404158504</c:v>
                </c:pt>
                <c:pt idx="20">
                  <c:v>0.05741731115302176</c:v>
                </c:pt>
                <c:pt idx="21">
                  <c:v>0.06265575620928615</c:v>
                </c:pt>
                <c:pt idx="22">
                  <c:v>0.062465139039252625</c:v>
                </c:pt>
                <c:pt idx="23">
                  <c:v>0.05817191784674408</c:v>
                </c:pt>
                <c:pt idx="24">
                  <c:v>0.05153257857276618</c:v>
                </c:pt>
                <c:pt idx="25">
                  <c:v>0.0509195615070725</c:v>
                </c:pt>
                <c:pt idx="26">
                  <c:v>0.05718016573283578</c:v>
                </c:pt>
                <c:pt idx="27">
                  <c:v>0.0625165155651086</c:v>
                </c:pt>
                <c:pt idx="28">
                  <c:v>0.0626394071267888</c:v>
                </c:pt>
                <c:pt idx="29">
                  <c:v>0.058714357030345096</c:v>
                </c:pt>
                <c:pt idx="30">
                  <c:v>0.05115993774001196</c:v>
                </c:pt>
                <c:pt idx="31">
                  <c:v>0.051409802474974384</c:v>
                </c:pt>
                <c:pt idx="32">
                  <c:v>0.05146502413116072</c:v>
                </c:pt>
                <c:pt idx="33">
                  <c:v>0.05109888970546944</c:v>
                </c:pt>
                <c:pt idx="34">
                  <c:v>0.05751738721571262</c:v>
                </c:pt>
                <c:pt idx="35">
                  <c:v>0.0625581295224758</c:v>
                </c:pt>
                <c:pt idx="36">
                  <c:v>0.06254569102956475</c:v>
                </c:pt>
                <c:pt idx="37">
                  <c:v>0.06263313175382136</c:v>
                </c:pt>
                <c:pt idx="38">
                  <c:v>0.058494884000260705</c:v>
                </c:pt>
                <c:pt idx="39">
                  <c:v>0.05138159370777945</c:v>
                </c:pt>
                <c:pt idx="40">
                  <c:v>0.05148209146431952</c:v>
                </c:pt>
                <c:pt idx="41">
                  <c:v>0.057924495898235145</c:v>
                </c:pt>
                <c:pt idx="42">
                  <c:v>0.06260650185814036</c:v>
                </c:pt>
                <c:pt idx="43">
                  <c:v>0.06241849255929688</c:v>
                </c:pt>
                <c:pt idx="44">
                  <c:v>0.058422547343655554</c:v>
                </c:pt>
                <c:pt idx="45">
                  <c:v>0.051209868596690106</c:v>
                </c:pt>
                <c:pt idx="46">
                  <c:v>0.05127487613200113</c:v>
                </c:pt>
                <c:pt idx="47">
                  <c:v>0.057945183536887684</c:v>
                </c:pt>
                <c:pt idx="48">
                  <c:v>0.06265261685157789</c:v>
                </c:pt>
                <c:pt idx="49">
                  <c:v>0.06276463039703692</c:v>
                </c:pt>
                <c:pt idx="50">
                  <c:v>0.06259093794165765</c:v>
                </c:pt>
                <c:pt idx="51">
                  <c:v>0.052571444638152234</c:v>
                </c:pt>
                <c:pt idx="52">
                  <c:v>0.06122192841528623</c:v>
                </c:pt>
                <c:pt idx="53">
                  <c:v>0.06122192841528623</c:v>
                </c:pt>
                <c:pt idx="54">
                  <c:v>0.0583114061113483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662530089777552"/>
          <c:min val="0.02396507138085434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756</c:v>
                </c:pt>
                <c:pt idx="1">
                  <c:v>2.728</c:v>
                </c:pt>
                <c:pt idx="2">
                  <c:v>2.7312</c:v>
                </c:pt>
                <c:pt idx="3">
                  <c:v>2.7424</c:v>
                </c:pt>
                <c:pt idx="4">
                  <c:v>2.7356</c:v>
                </c:pt>
                <c:pt idx="5">
                  <c:v>2.7404</c:v>
                </c:pt>
                <c:pt idx="6">
                  <c:v>2.739</c:v>
                </c:pt>
                <c:pt idx="7">
                  <c:v>2.7386</c:v>
                </c:pt>
                <c:pt idx="8">
                  <c:v>2.7628</c:v>
                </c:pt>
                <c:pt idx="9">
                  <c:v>2.7513</c:v>
                </c:pt>
                <c:pt idx="10">
                  <c:v>2.7358</c:v>
                </c:pt>
                <c:pt idx="11">
                  <c:v>2.7561</c:v>
                </c:pt>
                <c:pt idx="12">
                  <c:v>2.7664</c:v>
                </c:pt>
                <c:pt idx="13">
                  <c:v>2.7545</c:v>
                </c:pt>
                <c:pt idx="14">
                  <c:v>2.7548</c:v>
                </c:pt>
                <c:pt idx="15">
                  <c:v>2.7535</c:v>
                </c:pt>
                <c:pt idx="16">
                  <c:v>2.7561</c:v>
                </c:pt>
                <c:pt idx="17">
                  <c:v>2.7593</c:v>
                </c:pt>
                <c:pt idx="18">
                  <c:v>2.7548</c:v>
                </c:pt>
                <c:pt idx="19">
                  <c:v>2.7551</c:v>
                </c:pt>
                <c:pt idx="20">
                  <c:v>2.7527</c:v>
                </c:pt>
                <c:pt idx="21">
                  <c:v>2.7554</c:v>
                </c:pt>
                <c:pt idx="22">
                  <c:v>2.7535</c:v>
                </c:pt>
                <c:pt idx="23">
                  <c:v>2.7539</c:v>
                </c:pt>
                <c:pt idx="24">
                  <c:v>2.7517</c:v>
                </c:pt>
                <c:pt idx="25">
                  <c:v>2.7522</c:v>
                </c:pt>
                <c:pt idx="26">
                  <c:v>2.7537</c:v>
                </c:pt>
                <c:pt idx="27">
                  <c:v>2.7612</c:v>
                </c:pt>
                <c:pt idx="28">
                  <c:v>2.7502</c:v>
                </c:pt>
                <c:pt idx="29">
                  <c:v>2.7527</c:v>
                </c:pt>
                <c:pt idx="30">
                  <c:v>2.7489</c:v>
                </c:pt>
                <c:pt idx="31">
                  <c:v>2.7547</c:v>
                </c:pt>
                <c:pt idx="32">
                  <c:v>2.754</c:v>
                </c:pt>
                <c:pt idx="33">
                  <c:v>2.7545</c:v>
                </c:pt>
                <c:pt idx="34">
                  <c:v>2.7544</c:v>
                </c:pt>
                <c:pt idx="35">
                  <c:v>2.7314</c:v>
                </c:pt>
                <c:pt idx="36">
                  <c:v>2.5004</c:v>
                </c:pt>
                <c:pt idx="37">
                  <c:v>2.5018</c:v>
                </c:pt>
                <c:pt idx="38">
                  <c:v>2.5768</c:v>
                </c:pt>
                <c:pt idx="39">
                  <c:v>2.7544</c:v>
                </c:pt>
                <c:pt idx="40">
                  <c:v>2.7517</c:v>
                </c:pt>
                <c:pt idx="41">
                  <c:v>2.7515</c:v>
                </c:pt>
                <c:pt idx="42">
                  <c:v>2.7528</c:v>
                </c:pt>
                <c:pt idx="43">
                  <c:v>2.7599</c:v>
                </c:pt>
              </c:numCache>
            </c:numRef>
          </c:xVal>
          <c:yVal>
            <c:numRef>
              <c:f>Sheet1!$B$2:$B$45</c:f>
              <c:numCache>
                <c:formatCode>General</c:formatCode>
                <c:ptCount val="4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pt idx="14">
                  <c:v>0.057572850401870185</c:v>
                </c:pt>
                <c:pt idx="15">
                  <c:v>0.056338675407381536</c:v>
                </c:pt>
                <c:pt idx="16">
                  <c:v>0.05630465870315221</c:v>
                </c:pt>
                <c:pt idx="17">
                  <c:v>0.049812661365279357</c:v>
                </c:pt>
                <c:pt idx="18">
                  <c:v>0.05861562035195975</c:v>
                </c:pt>
                <c:pt idx="19">
                  <c:v>0.0558006200260311</c:v>
                </c:pt>
                <c:pt idx="20">
                  <c:v>0.06609229484150034</c:v>
                </c:pt>
                <c:pt idx="21">
                  <c:v>0.05335900789967919</c:v>
                </c:pt>
                <c:pt idx="22">
                  <c:v>0.049816421368994626</c:v>
                </c:pt>
                <c:pt idx="23">
                  <c:v>0.053632186663470374</c:v>
                </c:pt>
                <c:pt idx="24">
                  <c:v>0.04960329838984244</c:v>
                </c:pt>
                <c:pt idx="25">
                  <c:v>0.05742476467081583</c:v>
                </c:pt>
                <c:pt idx="26">
                  <c:v>0.0478791868812661</c:v>
                </c:pt>
                <c:pt idx="27">
                  <c:v>0.061010188704603265</c:v>
                </c:pt>
                <c:pt idx="28">
                  <c:v>0.05149382024487228</c:v>
                </c:pt>
                <c:pt idx="29">
                  <c:v>0.05399825706842638</c:v>
                </c:pt>
                <c:pt idx="30">
                  <c:v>0.055580509701812726</c:v>
                </c:pt>
                <c:pt idx="31">
                  <c:v>0.05884877561700888</c:v>
                </c:pt>
                <c:pt idx="32">
                  <c:v>0.05863814023271748</c:v>
                </c:pt>
                <c:pt idx="33">
                  <c:v>0.042450568864485186</c:v>
                </c:pt>
                <c:pt idx="34">
                  <c:v>0.05058881021953254</c:v>
                </c:pt>
                <c:pt idx="35">
                  <c:v>0.060389334448544045</c:v>
                </c:pt>
                <c:pt idx="36">
                  <c:v>0.06833008977689702</c:v>
                </c:pt>
                <c:pt idx="37">
                  <c:v>0.04595635342547913</c:v>
                </c:pt>
                <c:pt idx="38">
                  <c:v>0.06154357286670051</c:v>
                </c:pt>
                <c:pt idx="39">
                  <c:v>0.0477779216718552</c:v>
                </c:pt>
                <c:pt idx="40">
                  <c:v>0.053430623335661856</c:v>
                </c:pt>
                <c:pt idx="41">
                  <c:v>0.04833532016707964</c:v>
                </c:pt>
                <c:pt idx="42">
                  <c:v>0.056232910038156315</c:v>
                </c:pt>
                <c:pt idx="43">
                  <c:v>0.05910060529249901</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numCache>
            </c:numRef>
          </c:xVal>
          <c:yVal>
            <c:numRef>
              <c:f>Sheet1!$B$48:$B$99</c:f>
              <c:numCache>
                <c:formatCode>General</c:formatCode>
                <c:ptCount val="52"/>
                <c:pt idx="0">
                  <c:v>0.055234075385208886</c:v>
                </c:pt>
                <c:pt idx="1">
                  <c:v>0.06654972484039293</c:v>
                </c:pt>
                <c:pt idx="2">
                  <c:v>0.059293829262355637</c:v>
                </c:pt>
                <c:pt idx="3">
                  <c:v>0.04675931151831366</c:v>
                </c:pt>
                <c:pt idx="4">
                  <c:v>0.06762909022684233</c:v>
                </c:pt>
                <c:pt idx="5">
                  <c:v>0.057812327892362216</c:v>
                </c:pt>
                <c:pt idx="6">
                  <c:v>0.05498129222562317</c:v>
                </c:pt>
                <c:pt idx="7">
                  <c:v>0.05153836130134507</c:v>
                </c:pt>
                <c:pt idx="8">
                  <c:v>0.053642759858496133</c:v>
                </c:pt>
                <c:pt idx="9">
                  <c:v>0.0769049478994267</c:v>
                </c:pt>
                <c:pt idx="10">
                  <c:v>0.06122713188165881</c:v>
                </c:pt>
                <c:pt idx="11">
                  <c:v>0.0565800517175177</c:v>
                </c:pt>
                <c:pt idx="12">
                  <c:v>0.05688256555673173</c:v>
                </c:pt>
                <c:pt idx="13">
                  <c:v>0.047406534634842276</c:v>
                </c:pt>
                <c:pt idx="14">
                  <c:v>0.05715811790766488</c:v>
                </c:pt>
                <c:pt idx="15">
                  <c:v>0.0634462860190862</c:v>
                </c:pt>
                <c:pt idx="16">
                  <c:v>0.05451299766010065</c:v>
                </c:pt>
                <c:pt idx="17">
                  <c:v>0.06955707169309898</c:v>
                </c:pt>
                <c:pt idx="18">
                  <c:v>0.052698064622372295</c:v>
                </c:pt>
                <c:pt idx="19">
                  <c:v>0.056430349718169875</c:v>
                </c:pt>
                <c:pt idx="20">
                  <c:v>0.04894151269394723</c:v>
                </c:pt>
                <c:pt idx="21">
                  <c:v>0.05155833285734999</c:v>
                </c:pt>
                <c:pt idx="22">
                  <c:v>0.0745768691673905</c:v>
                </c:pt>
                <c:pt idx="23">
                  <c:v>0.05851764622685744</c:v>
                </c:pt>
                <c:pt idx="24">
                  <c:v>0.06721224324974745</c:v>
                </c:pt>
                <c:pt idx="25">
                  <c:v>0.0685390120460053</c:v>
                </c:pt>
                <c:pt idx="26">
                  <c:v>0.060285593512683595</c:v>
                </c:pt>
                <c:pt idx="27">
                  <c:v>0.0565956324119252</c:v>
                </c:pt>
                <c:pt idx="28">
                  <c:v>0.040008014308472686</c:v>
                </c:pt>
                <c:pt idx="29">
                  <c:v>0.06533634493965179</c:v>
                </c:pt>
                <c:pt idx="30">
                  <c:v>0.0515726786030211</c:v>
                </c:pt>
                <c:pt idx="31">
                  <c:v>0.05675351676811864</c:v>
                </c:pt>
                <c:pt idx="32">
                  <c:v>0.06476613857917965</c:v>
                </c:pt>
                <c:pt idx="33">
                  <c:v>0.05339862821303569</c:v>
                </c:pt>
                <c:pt idx="34">
                  <c:v>0.05354227268462044</c:v>
                </c:pt>
                <c:pt idx="35">
                  <c:v>0.049819410635811114</c:v>
                </c:pt>
                <c:pt idx="36">
                  <c:v>0.06880576330201779</c:v>
                </c:pt>
                <c:pt idx="37">
                  <c:v>0.03693554868980487</c:v>
                </c:pt>
                <c:pt idx="38">
                  <c:v>0.0851160296441133</c:v>
                </c:pt>
                <c:pt idx="39">
                  <c:v>0.06672036499521031</c:v>
                </c:pt>
                <c:pt idx="40">
                  <c:v>0.05400812968943301</c:v>
                </c:pt>
                <c:pt idx="41">
                  <c:v>0.057332063797009</c:v>
                </c:pt>
                <c:pt idx="42">
                  <c:v>0.054202770183867106</c:v>
                </c:pt>
                <c:pt idx="43">
                  <c:v>0.04628557057434677</c:v>
                </c:pt>
                <c:pt idx="44">
                  <c:v>0.06596169571287916</c:v>
                </c:pt>
                <c:pt idx="45">
                  <c:v>0.07636134726578216</c:v>
                </c:pt>
                <c:pt idx="46">
                  <c:v>0.07181794170410624</c:v>
                </c:pt>
                <c:pt idx="47">
                  <c:v>0.06681629348529416</c:v>
                </c:pt>
                <c:pt idx="48">
                  <c:v>0.05472030149501995</c:v>
                </c:pt>
                <c:pt idx="49">
                  <c:v>0.0538930960958753</c:v>
                </c:pt>
                <c:pt idx="50">
                  <c:v>0.048809690618746765</c:v>
                </c:pt>
                <c:pt idx="51">
                  <c:v>0.0563810809287389</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50919274009951</c:v>
                </c:pt>
              </c:numCache>
            </c:numRef>
          </c:xVal>
          <c:yVal>
            <c:numRef>
              <c:f>Sheet1!$B$102:$B$103</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50919274009951</c:v>
                </c:pt>
                <c:pt idx="1">
                  <c:v>2.550919274009951</c:v>
                </c:pt>
              </c:numCache>
            </c:numRef>
          </c:xVal>
          <c:yVal>
            <c:numRef>
              <c:f>Sheet1!$B$106:$B$107</c:f>
              <c:numCache>
                <c:formatCode>General</c:formatCode>
                <c:ptCount val="2"/>
                <c:pt idx="0">
                  <c:v>0.0594854112727929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550919274009951</c:v>
                </c:pt>
              </c:numCache>
            </c:numRef>
          </c:xVal>
          <c:yVal>
            <c:numRef>
              <c:f>Sheet1!$B$110:$B$111</c:f>
              <c:numCache>
                <c:formatCode>General</c:formatCode>
                <c:ptCount val="2"/>
                <c:pt idx="0">
                  <c:v>0.059485411272792985</c:v>
                </c:pt>
                <c:pt idx="1">
                  <c:v>0.059485411272792985</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550919274009951</c:v>
                </c:pt>
                <c:pt idx="1">
                  <c:v>2.550919274009951</c:v>
                </c:pt>
              </c:numCache>
            </c:numRef>
          </c:xVal>
          <c:yVal>
            <c:numRef>
              <c:f>Sheet1!$B$114:$B$115</c:f>
              <c:numCache>
                <c:formatCode>General</c:formatCode>
                <c:ptCount val="2"/>
                <c:pt idx="0">
                  <c:v>0.05948541127279298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5509192740099507</c:v>
                </c:pt>
              </c:numCache>
            </c:numRef>
          </c:xVal>
          <c:yVal>
            <c:numRef>
              <c:f>Sheet1!$B$118:$B$119</c:f>
              <c:numCache>
                <c:formatCode>General</c:formatCode>
                <c:ptCount val="2"/>
                <c:pt idx="0">
                  <c:v>0.05948541127279299</c:v>
                </c:pt>
                <c:pt idx="1">
                  <c:v>0.05948541127279299</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5509192740099507</c:v>
                </c:pt>
                <c:pt idx="1">
                  <c:v>2.5509192740099507</c:v>
                </c:pt>
              </c:numCache>
            </c:numRef>
          </c:xVal>
          <c:yVal>
            <c:numRef>
              <c:f>Sheet1!$B$122:$B$123</c:f>
              <c:numCache>
                <c:formatCode>General</c:formatCode>
                <c:ptCount val="2"/>
                <c:pt idx="0">
                  <c:v>0.0594854112727929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pt idx="52">
                  <c:v>2.550919274009951</c:v>
                </c:pt>
                <c:pt idx="53">
                  <c:v>2.550919274009951</c:v>
                </c:pt>
                <c:pt idx="54">
                  <c:v>2.5509192740099507</c:v>
                </c:pt>
              </c:numCache>
            </c:numRef>
          </c:xVal>
          <c:yVal>
            <c:numRef>
              <c:f>Sheet1!$B$126:$B$180</c:f>
              <c:numCache>
                <c:formatCode>General</c:formatCode>
                <c:ptCount val="55"/>
                <c:pt idx="0">
                  <c:v>0.05510629834808513</c:v>
                </c:pt>
                <c:pt idx="1">
                  <c:v>0.05414298684947927</c:v>
                </c:pt>
                <c:pt idx="2">
                  <c:v>0.05408340057121498</c:v>
                </c:pt>
                <c:pt idx="3">
                  <c:v>0.05399898667700724</c:v>
                </c:pt>
                <c:pt idx="4">
                  <c:v>0.05415540065745099</c:v>
                </c:pt>
                <c:pt idx="5">
                  <c:v>0.05390712449801649</c:v>
                </c:pt>
                <c:pt idx="6">
                  <c:v>0.05426960769079085</c:v>
                </c:pt>
                <c:pt idx="7">
                  <c:v>0.054247262836441754</c:v>
                </c:pt>
                <c:pt idx="8">
                  <c:v>0.05947595875413236</c:v>
                </c:pt>
                <c:pt idx="9">
                  <c:v>0.06593858718421246</c:v>
                </c:pt>
                <c:pt idx="10">
                  <c:v>0.06619431162843</c:v>
                </c:pt>
                <c:pt idx="11">
                  <c:v>0.06005444220561475</c:v>
                </c:pt>
                <c:pt idx="12">
                  <c:v>0.05396422801468642</c:v>
                </c:pt>
                <c:pt idx="13">
                  <c:v>0.0541007799023754</c:v>
                </c:pt>
                <c:pt idx="14">
                  <c:v>0.060183545808520686</c:v>
                </c:pt>
                <c:pt idx="15">
                  <c:v>0.06598575965450501</c:v>
                </c:pt>
                <c:pt idx="16">
                  <c:v>0.06609003564146751</c:v>
                </c:pt>
                <c:pt idx="17">
                  <c:v>0.06232120354125176</c:v>
                </c:pt>
                <c:pt idx="18">
                  <c:v>0.05404615914729981</c:v>
                </c:pt>
                <c:pt idx="19">
                  <c:v>0.054011400484978975</c:v>
                </c:pt>
                <c:pt idx="20">
                  <c:v>0.05422491798209264</c:v>
                </c:pt>
                <c:pt idx="21">
                  <c:v>0.053946848683526005</c:v>
                </c:pt>
                <c:pt idx="22">
                  <c:v>0.05453526318138577</c:v>
                </c:pt>
                <c:pt idx="23">
                  <c:v>0.06131816785713637</c:v>
                </c:pt>
                <c:pt idx="24">
                  <c:v>0.06611486325741095</c:v>
                </c:pt>
                <c:pt idx="25">
                  <c:v>0.06609996668784487</c:v>
                </c:pt>
                <c:pt idx="26">
                  <c:v>0.06328948056304631</c:v>
                </c:pt>
                <c:pt idx="27">
                  <c:v>0.05708754210037245</c:v>
                </c:pt>
                <c:pt idx="28">
                  <c:v>0.05721416294168405</c:v>
                </c:pt>
                <c:pt idx="29">
                  <c:v>0.05608202365466272</c:v>
                </c:pt>
                <c:pt idx="30">
                  <c:v>0.056116782316983554</c:v>
                </c:pt>
                <c:pt idx="31">
                  <c:v>0.05622354106554038</c:v>
                </c:pt>
                <c:pt idx="32">
                  <c:v>0.05591816138943595</c:v>
                </c:pt>
                <c:pt idx="33">
                  <c:v>0.056149058217710046</c:v>
                </c:pt>
                <c:pt idx="34">
                  <c:v>0.056010023568426714</c:v>
                </c:pt>
                <c:pt idx="35">
                  <c:v>0.05616147202568175</c:v>
                </c:pt>
                <c:pt idx="36">
                  <c:v>0.05628064458221031</c:v>
                </c:pt>
                <c:pt idx="37">
                  <c:v>0.05585112682638864</c:v>
                </c:pt>
                <c:pt idx="38">
                  <c:v>0.0638729295377174</c:v>
                </c:pt>
                <c:pt idx="39">
                  <c:v>0.06754245117415933</c:v>
                </c:pt>
                <c:pt idx="40">
                  <c:v>0.0678825895125846</c:v>
                </c:pt>
                <c:pt idx="41">
                  <c:v>0.0626439625485166</c:v>
                </c:pt>
                <c:pt idx="42">
                  <c:v>0.05613664440973831</c:v>
                </c:pt>
                <c:pt idx="43">
                  <c:v>0.05569223008435055</c:v>
                </c:pt>
                <c:pt idx="44">
                  <c:v>0.06212754813689284</c:v>
                </c:pt>
                <c:pt idx="45">
                  <c:v>0.06777086524083908</c:v>
                </c:pt>
                <c:pt idx="46">
                  <c:v>0.06777583076402777</c:v>
                </c:pt>
                <c:pt idx="47">
                  <c:v>0.06146713355279707</c:v>
                </c:pt>
                <c:pt idx="48">
                  <c:v>0.05608202365466272</c:v>
                </c:pt>
                <c:pt idx="49">
                  <c:v>0.05586850615754904</c:v>
                </c:pt>
                <c:pt idx="50">
                  <c:v>0.05601747185320975</c:v>
                </c:pt>
                <c:pt idx="51">
                  <c:v>0.056054713277124926</c:v>
                </c:pt>
                <c:pt idx="52">
                  <c:v>0.059485411272792985</c:v>
                </c:pt>
                <c:pt idx="53">
                  <c:v>0.059485411272792985</c:v>
                </c:pt>
                <c:pt idx="54">
                  <c:v>0.05948541127279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0213923557293596"/>
          <c:min val="0.029548438951843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5583</c:v>
                </c:pt>
                <c:pt idx="1">
                  <c:v>2.5396</c:v>
                </c:pt>
                <c:pt idx="2">
                  <c:v>2.7767</c:v>
                </c:pt>
                <c:pt idx="3">
                  <c:v>2.9992</c:v>
                </c:pt>
                <c:pt idx="4">
                  <c:v>3.0257</c:v>
                </c:pt>
                <c:pt idx="5">
                  <c:v>3.0091</c:v>
                </c:pt>
                <c:pt idx="6">
                  <c:v>2.8289</c:v>
                </c:pt>
                <c:pt idx="7">
                  <c:v>2.2731</c:v>
                </c:pt>
                <c:pt idx="8">
                  <c:v>2.2451</c:v>
                </c:pt>
                <c:pt idx="9">
                  <c:v>2.27</c:v>
                </c:pt>
                <c:pt idx="10">
                  <c:v>2.2231</c:v>
                </c:pt>
                <c:pt idx="11">
                  <c:v>2.7092</c:v>
                </c:pt>
                <c:pt idx="12">
                  <c:v>3.0102</c:v>
                </c:pt>
                <c:pt idx="13">
                  <c:v>2.9939</c:v>
                </c:pt>
                <c:pt idx="14">
                  <c:v>3.0119</c:v>
                </c:pt>
                <c:pt idx="15">
                  <c:v>3.0081</c:v>
                </c:pt>
                <c:pt idx="16">
                  <c:v>2.6738</c:v>
                </c:pt>
                <c:pt idx="17">
                  <c:v>2.5505</c:v>
                </c:pt>
                <c:pt idx="18">
                  <c:v>2.5543</c:v>
                </c:pt>
                <c:pt idx="19">
                  <c:v>2.8385</c:v>
                </c:pt>
                <c:pt idx="20">
                  <c:v>3.1791</c:v>
                </c:pt>
                <c:pt idx="21">
                  <c:v>3.0818</c:v>
                </c:pt>
                <c:pt idx="22">
                  <c:v>2.8254</c:v>
                </c:pt>
                <c:pt idx="23">
                  <c:v>2.6034</c:v>
                </c:pt>
                <c:pt idx="24">
                  <c:v>2.616</c:v>
                </c:pt>
                <c:pt idx="25">
                  <c:v>2.9625</c:v>
                </c:pt>
                <c:pt idx="26">
                  <c:v>3.0544</c:v>
                </c:pt>
                <c:pt idx="27">
                  <c:v>3.1444</c:v>
                </c:pt>
                <c:pt idx="28">
                  <c:v>2.7746</c:v>
                </c:pt>
                <c:pt idx="29">
                  <c:v>2.6305</c:v>
                </c:pt>
                <c:pt idx="30">
                  <c:v>2.6225</c:v>
                </c:pt>
                <c:pt idx="31">
                  <c:v>2.9278</c:v>
                </c:pt>
                <c:pt idx="32">
                  <c:v>3.1128</c:v>
                </c:pt>
                <c:pt idx="33">
                  <c:v>3.1051</c:v>
                </c:pt>
                <c:pt idx="34">
                  <c:v>2.7542</c:v>
                </c:pt>
                <c:pt idx="35">
                  <c:v>2.6246</c:v>
                </c:pt>
                <c:pt idx="36">
                  <c:v>2.6544</c:v>
                </c:pt>
                <c:pt idx="37">
                  <c:v>2.8255</c:v>
                </c:pt>
                <c:pt idx="38">
                  <c:v>3.1016</c:v>
                </c:pt>
                <c:pt idx="39">
                  <c:v>3.1071</c:v>
                </c:pt>
                <c:pt idx="40">
                  <c:v>3.1162</c:v>
                </c:pt>
                <c:pt idx="41">
                  <c:v>2.6567</c:v>
                </c:pt>
                <c:pt idx="42">
                  <c:v>2.6456</c:v>
                </c:pt>
                <c:pt idx="43">
                  <c:v>2.6317</c:v>
                </c:pt>
              </c:numCache>
            </c:numRef>
          </c:xVal>
          <c:yVal>
            <c:numRef>
              <c:f>Sheet1!$B$2:$B$45</c:f>
              <c:numCache>
                <c:formatCode>General</c:formatCode>
                <c:ptCount val="4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pt idx="14">
                  <c:v>0.04721683698070291</c:v>
                </c:pt>
                <c:pt idx="15">
                  <c:v>0.0487170082157261</c:v>
                </c:pt>
                <c:pt idx="16">
                  <c:v>0.06386071558360039</c:v>
                </c:pt>
                <c:pt idx="17">
                  <c:v>0.05555633584632862</c:v>
                </c:pt>
                <c:pt idx="18">
                  <c:v>0.04429987233814671</c:v>
                </c:pt>
                <c:pt idx="19">
                  <c:v>0.03528497681578129</c:v>
                </c:pt>
                <c:pt idx="20">
                  <c:v>0.029956339226067927</c:v>
                </c:pt>
                <c:pt idx="21">
                  <c:v>0.05120979823298573</c:v>
                </c:pt>
                <c:pt idx="22">
                  <c:v>0.061442804917318586</c:v>
                </c:pt>
                <c:pt idx="23">
                  <c:v>0.04789244476407367</c:v>
                </c:pt>
                <c:pt idx="24">
                  <c:v>0.042071226254498655</c:v>
                </c:pt>
                <c:pt idx="25">
                  <c:v>0.04031387844798024</c:v>
                </c:pt>
                <c:pt idx="26">
                  <c:v>0.04472050168638943</c:v>
                </c:pt>
                <c:pt idx="27">
                  <c:v>0.04208566050473132</c:v>
                </c:pt>
                <c:pt idx="28">
                  <c:v>0.05179045952874366</c:v>
                </c:pt>
                <c:pt idx="29">
                  <c:v>0.057888008102612375</c:v>
                </c:pt>
                <c:pt idx="30">
                  <c:v>0.04644034493737068</c:v>
                </c:pt>
                <c:pt idx="31">
                  <c:v>0.034612203903982154</c:v>
                </c:pt>
                <c:pt idx="32">
                  <c:v>0.03317042262887218</c:v>
                </c:pt>
                <c:pt idx="33">
                  <c:v>0.05516964868104957</c:v>
                </c:pt>
                <c:pt idx="34">
                  <c:v>0.042999715661027615</c:v>
                </c:pt>
                <c:pt idx="35">
                  <c:v>0.047217256986367896</c:v>
                </c:pt>
                <c:pt idx="36">
                  <c:v>0.05292772332307508</c:v>
                </c:pt>
                <c:pt idx="37">
                  <c:v>0.030093917832120173</c:v>
                </c:pt>
                <c:pt idx="38">
                  <c:v>0.03697234310745065</c:v>
                </c:pt>
                <c:pt idx="39">
                  <c:v>0.035645265960377294</c:v>
                </c:pt>
                <c:pt idx="40">
                  <c:v>0.03973260376636785</c:v>
                </c:pt>
                <c:pt idx="41">
                  <c:v>0.04754649233149667</c:v>
                </c:pt>
                <c:pt idx="42">
                  <c:v>0.03395561423326476</c:v>
                </c:pt>
                <c:pt idx="43">
                  <c:v>0.0376121207751740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numCache>
            </c:numRef>
          </c:xVal>
          <c:yVal>
            <c:numRef>
              <c:f>Sheet1!$B$48:$B$99</c:f>
              <c:numCache>
                <c:formatCode>General</c:formatCode>
                <c:ptCount val="52"/>
                <c:pt idx="0">
                  <c:v>0.04534005037783375</c:v>
                </c:pt>
                <c:pt idx="1">
                  <c:v>0.04086601382200842</c:v>
                </c:pt>
                <c:pt idx="2">
                  <c:v>0.039235978152095466</c:v>
                </c:pt>
                <c:pt idx="3">
                  <c:v>0.037027978800940387</c:v>
                </c:pt>
                <c:pt idx="4">
                  <c:v>0.05253020948762598</c:v>
                </c:pt>
                <c:pt idx="5">
                  <c:v>0.04897809908936387</c:v>
                </c:pt>
                <c:pt idx="6">
                  <c:v>0.04422837376651401</c:v>
                </c:pt>
                <c:pt idx="7">
                  <c:v>0.05408564630479583</c:v>
                </c:pt>
                <c:pt idx="8">
                  <c:v>0.0642555497871984</c:v>
                </c:pt>
                <c:pt idx="9">
                  <c:v>0.05320944827677519</c:v>
                </c:pt>
                <c:pt idx="10">
                  <c:v>0.0563570892935467</c:v>
                </c:pt>
                <c:pt idx="11">
                  <c:v>0.04633033290178769</c:v>
                </c:pt>
                <c:pt idx="12">
                  <c:v>0.0386188857747575</c:v>
                </c:pt>
                <c:pt idx="13">
                  <c:v>0.054942675995606434</c:v>
                </c:pt>
                <c:pt idx="14">
                  <c:v>0.06947711283182216</c:v>
                </c:pt>
                <c:pt idx="15">
                  <c:v>0.060383428669584654</c:v>
                </c:pt>
                <c:pt idx="16">
                  <c:v>0.05638195836507855</c:v>
                </c:pt>
                <c:pt idx="17">
                  <c:v>0.049706445805433604</c:v>
                </c:pt>
                <c:pt idx="18">
                  <c:v>0.048498096009537195</c:v>
                </c:pt>
                <c:pt idx="19">
                  <c:v>0.05445181319900868</c:v>
                </c:pt>
                <c:pt idx="20">
                  <c:v>0.06383212593989482</c:v>
                </c:pt>
                <c:pt idx="21">
                  <c:v>0.07001293942416267</c:v>
                </c:pt>
                <c:pt idx="22">
                  <c:v>0.0508786024682552</c:v>
                </c:pt>
                <c:pt idx="23">
                  <c:v>0.06584532321566107</c:v>
                </c:pt>
                <c:pt idx="24">
                  <c:v>0.05966762339715918</c:v>
                </c:pt>
                <c:pt idx="25">
                  <c:v>0.05459934441699196</c:v>
                </c:pt>
                <c:pt idx="26">
                  <c:v>0.06349426918087427</c:v>
                </c:pt>
                <c:pt idx="27">
                  <c:v>0.06984266931166572</c:v>
                </c:pt>
                <c:pt idx="28">
                  <c:v>0.06834967144593111</c:v>
                </c:pt>
                <c:pt idx="29">
                  <c:v>0.056318364853911326</c:v>
                </c:pt>
                <c:pt idx="30">
                  <c:v>0.053691566235202035</c:v>
                </c:pt>
                <c:pt idx="31">
                  <c:v>0.06068715936472836</c:v>
                </c:pt>
                <c:pt idx="32">
                  <c:v>0.037879433931294525</c:v>
                </c:pt>
                <c:pt idx="33">
                  <c:v>0.059967748887187984</c:v>
                </c:pt>
                <c:pt idx="34">
                  <c:v>0.0637369955231606</c:v>
                </c:pt>
                <c:pt idx="35">
                  <c:v>0.07218775074814628</c:v>
                </c:pt>
                <c:pt idx="36">
                  <c:v>0.06332436192640206</c:v>
                </c:pt>
                <c:pt idx="37">
                  <c:v>0.0653651319410137</c:v>
                </c:pt>
                <c:pt idx="38">
                  <c:v>0.06103994604920308</c:v>
                </c:pt>
                <c:pt idx="39">
                  <c:v>0.0577508263309754</c:v>
                </c:pt>
                <c:pt idx="40">
                  <c:v>0.06277791166594367</c:v>
                </c:pt>
                <c:pt idx="41">
                  <c:v>0.06744692593856512</c:v>
                </c:pt>
                <c:pt idx="42">
                  <c:v>0.0543591123502214</c:v>
                </c:pt>
                <c:pt idx="43">
                  <c:v>0.05974017199247768</c:v>
                </c:pt>
                <c:pt idx="44">
                  <c:v>0.06367050920955611</c:v>
                </c:pt>
                <c:pt idx="45">
                  <c:v>0.05107328100214597</c:v>
                </c:pt>
                <c:pt idx="46">
                  <c:v>0.04806168506828036</c:v>
                </c:pt>
                <c:pt idx="47">
                  <c:v>0.06376540682135745</c:v>
                </c:pt>
                <c:pt idx="48">
                  <c:v>0.06053504919784807</c:v>
                </c:pt>
                <c:pt idx="49">
                  <c:v>0.06912469292357976</c:v>
                </c:pt>
                <c:pt idx="50">
                  <c:v>0.04470528408885167</c:v>
                </c:pt>
                <c:pt idx="51">
                  <c:v>0.05503742285772611</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7454223825553767</c:v>
                </c:pt>
              </c:numCache>
            </c:numRef>
          </c:xVal>
          <c:yVal>
            <c:numRef>
              <c:f>Sheet1!$B$102:$B$103</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7454223825553767</c:v>
                </c:pt>
                <c:pt idx="1">
                  <c:v>2.7454223825553767</c:v>
                </c:pt>
              </c:numCache>
            </c:numRef>
          </c:xVal>
          <c:yVal>
            <c:numRef>
              <c:f>Sheet1!$B$106:$B$107</c:f>
              <c:numCache>
                <c:formatCode>General</c:formatCode>
                <c:ptCount val="2"/>
                <c:pt idx="0">
                  <c:v>0.0612219284152862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7454223825553767</c:v>
                </c:pt>
              </c:numCache>
            </c:numRef>
          </c:xVal>
          <c:yVal>
            <c:numRef>
              <c:f>Sheet1!$B$110:$B$111</c:f>
              <c:numCache>
                <c:formatCode>General</c:formatCode>
                <c:ptCount val="2"/>
                <c:pt idx="0">
                  <c:v>0.06122192841528624</c:v>
                </c:pt>
                <c:pt idx="1">
                  <c:v>0.06122192841528624</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7454223825553767</c:v>
                </c:pt>
                <c:pt idx="1">
                  <c:v>2.7454223825553767</c:v>
                </c:pt>
              </c:numCache>
            </c:numRef>
          </c:xVal>
          <c:yVal>
            <c:numRef>
              <c:f>Sheet1!$B$114:$B$115</c:f>
              <c:numCache>
                <c:formatCode>General</c:formatCode>
                <c:ptCount val="2"/>
                <c:pt idx="0">
                  <c:v>0.0612219284152862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87464485916357</c:v>
                </c:pt>
              </c:numCache>
            </c:numRef>
          </c:xVal>
          <c:yVal>
            <c:numRef>
              <c:f>Sheet1!$B$118:$B$119</c:f>
              <c:numCache>
                <c:formatCode>General</c:formatCode>
                <c:ptCount val="2"/>
                <c:pt idx="0">
                  <c:v>0.058311406111348364</c:v>
                </c:pt>
                <c:pt idx="1">
                  <c:v>0.058311406111348364</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87464485916357</c:v>
                </c:pt>
                <c:pt idx="1">
                  <c:v>2.87464485916357</c:v>
                </c:pt>
              </c:numCache>
            </c:numRef>
          </c:xVal>
          <c:yVal>
            <c:numRef>
              <c:f>Sheet1!$B$122:$B$123</c:f>
              <c:numCache>
                <c:formatCode>General</c:formatCode>
                <c:ptCount val="2"/>
                <c:pt idx="0">
                  <c:v>0.0583114061113483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pt idx="52">
                  <c:v>2.7454223825553767</c:v>
                </c:pt>
                <c:pt idx="53">
                  <c:v>2.7454223825553767</c:v>
                </c:pt>
                <c:pt idx="54">
                  <c:v>2.87464485916357</c:v>
                </c:pt>
              </c:numCache>
            </c:numRef>
          </c:xVal>
          <c:yVal>
            <c:numRef>
              <c:f>Sheet1!$B$126:$B$180</c:f>
              <c:numCache>
                <c:formatCode>General</c:formatCode>
                <c:ptCount val="55"/>
                <c:pt idx="0">
                  <c:v>0.054708681436402465</c:v>
                </c:pt>
                <c:pt idx="1">
                  <c:v>0.052361748982926365</c:v>
                </c:pt>
                <c:pt idx="2">
                  <c:v>0.052213094911976815</c:v>
                </c:pt>
                <c:pt idx="3">
                  <c:v>0.05246986103452603</c:v>
                </c:pt>
                <c:pt idx="4">
                  <c:v>0.05218831923348523</c:v>
                </c:pt>
                <c:pt idx="5">
                  <c:v>0.05227616027540996</c:v>
                </c:pt>
                <c:pt idx="6">
                  <c:v>0.0521432725453187</c:v>
                </c:pt>
                <c:pt idx="7">
                  <c:v>0.05024680697350786</c:v>
                </c:pt>
                <c:pt idx="8">
                  <c:v>0.05473796178371072</c:v>
                </c:pt>
                <c:pt idx="9">
                  <c:v>0.06081476001737537</c:v>
                </c:pt>
                <c:pt idx="10">
                  <c:v>0.06108954481519119</c:v>
                </c:pt>
                <c:pt idx="11">
                  <c:v>0.05357350489460597</c:v>
                </c:pt>
                <c:pt idx="12">
                  <c:v>0.04948326560908521</c:v>
                </c:pt>
                <c:pt idx="13">
                  <c:v>0.05097881565621394</c:v>
                </c:pt>
                <c:pt idx="14">
                  <c:v>0.057927267305900906</c:v>
                </c:pt>
                <c:pt idx="15">
                  <c:v>0.06289141234185232</c:v>
                </c:pt>
                <c:pt idx="16">
                  <c:v>0.06267518823865298</c:v>
                </c:pt>
                <c:pt idx="17">
                  <c:v>0.05989805991318653</c:v>
                </c:pt>
                <c:pt idx="18">
                  <c:v>0.05135270316799612</c:v>
                </c:pt>
                <c:pt idx="19">
                  <c:v>0.05131216114864626</c:v>
                </c:pt>
                <c:pt idx="20">
                  <c:v>0.05741823972961915</c:v>
                </c:pt>
                <c:pt idx="21">
                  <c:v>0.06266392656661135</c:v>
                </c:pt>
                <c:pt idx="22">
                  <c:v>0.06245445946663699</c:v>
                </c:pt>
                <c:pt idx="23">
                  <c:v>0.05816151008436686</c:v>
                </c:pt>
                <c:pt idx="24">
                  <c:v>0.05151937591421228</c:v>
                </c:pt>
                <c:pt idx="25">
                  <c:v>0.05092025496159745</c:v>
                </c:pt>
                <c:pt idx="26">
                  <c:v>0.05717723994792823</c:v>
                </c:pt>
                <c:pt idx="27">
                  <c:v>0.0625152724956618</c:v>
                </c:pt>
                <c:pt idx="28">
                  <c:v>0.0626346462193031</c:v>
                </c:pt>
                <c:pt idx="29">
                  <c:v>0.05871783668322349</c:v>
                </c:pt>
                <c:pt idx="30">
                  <c:v>0.05115224540565508</c:v>
                </c:pt>
                <c:pt idx="31">
                  <c:v>0.05142027320024592</c:v>
                </c:pt>
                <c:pt idx="32">
                  <c:v>0.05145180588196249</c:v>
                </c:pt>
                <c:pt idx="33">
                  <c:v>0.05109818937985525</c:v>
                </c:pt>
                <c:pt idx="34">
                  <c:v>0.05751959477799383</c:v>
                </c:pt>
                <c:pt idx="35">
                  <c:v>0.06255806684942</c:v>
                </c:pt>
                <c:pt idx="36">
                  <c:v>0.06254680517737837</c:v>
                </c:pt>
                <c:pt idx="37">
                  <c:v>0.0626436555569364</c:v>
                </c:pt>
                <c:pt idx="38">
                  <c:v>0.05849710791120749</c:v>
                </c:pt>
                <c:pt idx="39">
                  <c:v>0.05138648818412102</c:v>
                </c:pt>
                <c:pt idx="40">
                  <c:v>0.05148559089808738</c:v>
                </c:pt>
                <c:pt idx="41">
                  <c:v>0.057911500965042634</c:v>
                </c:pt>
                <c:pt idx="42">
                  <c:v>0.06260761820640319</c:v>
                </c:pt>
                <c:pt idx="43">
                  <c:v>0.062418422116103774</c:v>
                </c:pt>
                <c:pt idx="44">
                  <c:v>0.05842728554454937</c:v>
                </c:pt>
                <c:pt idx="45">
                  <c:v>0.05121756310349654</c:v>
                </c:pt>
                <c:pt idx="46">
                  <c:v>0.051278376132521356</c:v>
                </c:pt>
                <c:pt idx="47">
                  <c:v>0.05793852897794255</c:v>
                </c:pt>
                <c:pt idx="48">
                  <c:v>0.06268194524187795</c:v>
                </c:pt>
                <c:pt idx="49">
                  <c:v>0.06275401994294441</c:v>
                </c:pt>
                <c:pt idx="50">
                  <c:v>0.06258734719672826</c:v>
                </c:pt>
                <c:pt idx="51">
                  <c:v>0.05256671141408406</c:v>
                </c:pt>
                <c:pt idx="52">
                  <c:v>0.06122192841528624</c:v>
                </c:pt>
                <c:pt idx="53">
                  <c:v>0.06122192841528624</c:v>
                </c:pt>
                <c:pt idx="54">
                  <c:v>0.05831140611134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662530089777552"/>
          <c:min val="0.02396507138085434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0548385766709274</c:v>
                </c:pt>
                <c:pt idx="1">
                  <c:v>1.0472145478536967</c:v>
                </c:pt>
                <c:pt idx="2">
                  <c:v>1.1450309278350517</c:v>
                </c:pt>
                <c:pt idx="3">
                  <c:v>1.2367835051546392</c:v>
                </c:pt>
                <c:pt idx="4">
                  <c:v>1.2476084446643576</c:v>
                </c:pt>
                <c:pt idx="5">
                  <c:v>1.2408148117603397</c:v>
                </c:pt>
                <c:pt idx="6">
                  <c:v>1.1664604981032494</c:v>
                </c:pt>
                <c:pt idx="7">
                  <c:v>0.9372835230084117</c:v>
                </c:pt>
                <c:pt idx="8">
                  <c:v>0.9258144329896907</c:v>
                </c:pt>
                <c:pt idx="9">
                  <c:v>0.9360824742268042</c:v>
                </c:pt>
                <c:pt idx="10">
                  <c:v>0.9167800734050889</c:v>
                </c:pt>
                <c:pt idx="11">
                  <c:v>1.1171958762886598</c:v>
                </c:pt>
                <c:pt idx="12">
                  <c:v>1.2412172191984168</c:v>
                </c:pt>
                <c:pt idx="13">
                  <c:v>1.2344452232713479</c:v>
                </c:pt>
              </c:numCache>
            </c:numRef>
          </c:xVal>
          <c:yVal>
            <c:numRef>
              <c:f>Sheet1!$B$2:$B$15</c:f>
              <c:numCache>
                <c:formatCode>General</c:formatCode>
                <c:ptCount val="1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48350776049894434</c:v>
                </c:pt>
              </c:numCache>
            </c:numRef>
          </c:xVal>
          <c:yVal>
            <c:numRef>
              <c:f>Sheet1!$B$20:$B$21</c:f>
              <c:numCache>
                <c:formatCode>General</c:formatCode>
                <c:ptCount val="2"/>
                <c:pt idx="0">
                  <c:v>0.048350776049894434</c:v>
                </c:pt>
                <c:pt idx="1">
                  <c:v>0.048350776049894434</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48350776049894434</c:v>
                </c:pt>
                <c:pt idx="1">
                  <c:v>0.048350776049894434</c:v>
                </c:pt>
              </c:numCache>
            </c:numRef>
          </c:xVal>
          <c:yVal>
            <c:numRef>
              <c:f>Sheet1!$B$24:$B$25</c:f>
              <c:numCache>
                <c:formatCode>General</c:formatCode>
                <c:ptCount val="2"/>
                <c:pt idx="0">
                  <c:v>0.0483507760498944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48350776049894434</c:v>
                </c:pt>
                <c:pt idx="2">
                  <c:v>0</c:v>
                </c:pt>
              </c:numCache>
            </c:numRef>
          </c:xVal>
          <c:yVal>
            <c:numRef>
              <c:f>Sheet1!$B$28:$B$30</c:f>
              <c:numCache>
                <c:formatCode>General</c:formatCode>
                <c:ptCount val="3"/>
                <c:pt idx="0">
                  <c:v>0</c:v>
                </c:pt>
                <c:pt idx="1">
                  <c:v>0.048350776049894434</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265087624857945"/>
          <c:min val="0.0278623963179989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5583</c:v>
                </c:pt>
                <c:pt idx="1">
                  <c:v>2.5396</c:v>
                </c:pt>
                <c:pt idx="2">
                  <c:v>2.7767</c:v>
                </c:pt>
                <c:pt idx="3">
                  <c:v>2.9992</c:v>
                </c:pt>
                <c:pt idx="4">
                  <c:v>3.0257</c:v>
                </c:pt>
                <c:pt idx="5">
                  <c:v>3.0091</c:v>
                </c:pt>
                <c:pt idx="6">
                  <c:v>2.8289</c:v>
                </c:pt>
                <c:pt idx="7">
                  <c:v>2.2731</c:v>
                </c:pt>
                <c:pt idx="8">
                  <c:v>2.2451</c:v>
                </c:pt>
                <c:pt idx="9">
                  <c:v>2.27</c:v>
                </c:pt>
                <c:pt idx="10">
                  <c:v>2.2231</c:v>
                </c:pt>
                <c:pt idx="11">
                  <c:v>2.7092</c:v>
                </c:pt>
                <c:pt idx="12">
                  <c:v>3.0102</c:v>
                </c:pt>
                <c:pt idx="13">
                  <c:v>2.9939</c:v>
                </c:pt>
              </c:numCache>
            </c:numRef>
          </c:xVal>
          <c:yVal>
            <c:numRef>
              <c:f>Sheet1!$B$2:$B$15</c:f>
              <c:numCache>
                <c:formatCode>General</c:formatCode>
                <c:ptCount val="14"/>
                <c:pt idx="0">
                  <c:v>0.04047726360939272</c:v>
                </c:pt>
                <c:pt idx="1">
                  <c:v>0.03704264083691951</c:v>
                </c:pt>
                <c:pt idx="2">
                  <c:v>0.04244201286806544</c:v>
                </c:pt>
                <c:pt idx="3">
                  <c:v>0.03584872359007599</c:v>
                </c:pt>
                <c:pt idx="4">
                  <c:v>0.034827995397498646</c:v>
                </c:pt>
                <c:pt idx="5">
                  <c:v>0.035445772133112355</c:v>
                </c:pt>
                <c:pt idx="6">
                  <c:v>0.037787515005042335</c:v>
                </c:pt>
                <c:pt idx="7">
                  <c:v>0.06887573020714954</c:v>
                </c:pt>
                <c:pt idx="8">
                  <c:v>0.054815515791694774</c:v>
                </c:pt>
                <c:pt idx="9">
                  <c:v>0.05506765993546424</c:v>
                </c:pt>
                <c:pt idx="10">
                  <c:v>0.05809667979196861</c:v>
                </c:pt>
                <c:pt idx="11">
                  <c:v>0.05116331104539505</c:v>
                </c:pt>
                <c:pt idx="12">
                  <c:v>0.03489040438548187</c:v>
                </c:pt>
                <c:pt idx="13">
                  <c:v>0.03901439615374109</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48350776049894434</c:v>
                </c:pt>
              </c:numCache>
            </c:numRef>
          </c:xVal>
          <c:yVal>
            <c:numRef>
              <c:f>Sheet1!$B$20:$B$21</c:f>
              <c:numCache>
                <c:formatCode>General</c:formatCode>
                <c:ptCount val="2"/>
                <c:pt idx="0">
                  <c:v>0.048350776049894434</c:v>
                </c:pt>
                <c:pt idx="1">
                  <c:v>0.048350776049894434</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48350776049894434</c:v>
                </c:pt>
                <c:pt idx="1">
                  <c:v>0.048350776049894434</c:v>
                </c:pt>
              </c:numCache>
            </c:numRef>
          </c:xVal>
          <c:yVal>
            <c:numRef>
              <c:f>Sheet1!$B$24:$B$25</c:f>
              <c:numCache>
                <c:formatCode>General</c:formatCode>
                <c:ptCount val="2"/>
                <c:pt idx="0">
                  <c:v>0.0483507760498944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48350776049894434</c:v>
                </c:pt>
                <c:pt idx="2">
                  <c:v>0</c:v>
                </c:pt>
              </c:numCache>
            </c:numRef>
          </c:xVal>
          <c:yVal>
            <c:numRef>
              <c:f>Sheet1!$B$28:$B$30</c:f>
              <c:numCache>
                <c:formatCode>General</c:formatCode>
                <c:ptCount val="3"/>
                <c:pt idx="0">
                  <c:v>0</c:v>
                </c:pt>
                <c:pt idx="1">
                  <c:v>0.048350776049894434</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8265087624857945"/>
          <c:min val="0.0278623963179989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21570357300397</c:v>
                </c:pt>
                <c:pt idx="1">
                  <c:v>1.203352448169387</c:v>
                </c:pt>
                <c:pt idx="2">
                  <c:v>1.2047108640995103</c:v>
                </c:pt>
                <c:pt idx="3">
                  <c:v>1.2097044552271725</c:v>
                </c:pt>
                <c:pt idx="4">
                  <c:v>1.2067048963387736</c:v>
                </c:pt>
                <c:pt idx="5">
                  <c:v>1.2088222320247024</c:v>
                </c:pt>
                <c:pt idx="6">
                  <c:v>1.2081513828238717</c:v>
                </c:pt>
                <c:pt idx="7">
                  <c:v>1.208028231142479</c:v>
                </c:pt>
                <c:pt idx="8">
                  <c:v>1.218649375854616</c:v>
                </c:pt>
                <c:pt idx="9">
                  <c:v>1.2135768161969036</c:v>
                </c:pt>
                <c:pt idx="10">
                  <c:v>1.2067398879625952</c:v>
                </c:pt>
                <c:pt idx="11">
                  <c:v>1.2157476841640935</c:v>
                </c:pt>
                <c:pt idx="12">
                  <c:v>1.220237307573552</c:v>
                </c:pt>
                <c:pt idx="13">
                  <c:v>1.2150419056021176</c:v>
                </c:pt>
                <c:pt idx="14">
                  <c:v>1.2151742390824878</c:v>
                </c:pt>
                <c:pt idx="15">
                  <c:v>1.214547218914031</c:v>
                </c:pt>
                <c:pt idx="16">
                  <c:v>1.2157476841640935</c:v>
                </c:pt>
                <c:pt idx="17">
                  <c:v>1.2171592412880459</c:v>
                </c:pt>
                <c:pt idx="18">
                  <c:v>1.2151742390824878</c:v>
                </c:pt>
                <c:pt idx="19">
                  <c:v>1.2152529663446694</c:v>
                </c:pt>
                <c:pt idx="20">
                  <c:v>1.2142479047198942</c:v>
                </c:pt>
                <c:pt idx="21">
                  <c:v>1.215385293987914</c:v>
                </c:pt>
                <c:pt idx="22">
                  <c:v>1.2146007940008823</c:v>
                </c:pt>
                <c:pt idx="23">
                  <c:v>1.2147236557716905</c:v>
                </c:pt>
                <c:pt idx="24">
                  <c:v>1.2138067931186591</c:v>
                </c:pt>
                <c:pt idx="25">
                  <c:v>1.2140273489192768</c:v>
                </c:pt>
                <c:pt idx="26">
                  <c:v>1.2146890163211292</c:v>
                </c:pt>
                <c:pt idx="27">
                  <c:v>1.2179973533303927</c:v>
                </c:pt>
                <c:pt idx="28">
                  <c:v>1.2131451257168064</c:v>
                </c:pt>
                <c:pt idx="29">
                  <c:v>1.2142479047198942</c:v>
                </c:pt>
                <c:pt idx="30">
                  <c:v>1.2125716806352007</c:v>
                </c:pt>
                <c:pt idx="31">
                  <c:v>1.2150765294870098</c:v>
                </c:pt>
                <c:pt idx="32">
                  <c:v>1.2148213498015</c:v>
                </c:pt>
                <c:pt idx="33">
                  <c:v>1.21498831105818</c:v>
                </c:pt>
                <c:pt idx="34">
                  <c:v>1.2149977944419939</c:v>
                </c:pt>
                <c:pt idx="35">
                  <c:v>1.2048522276135862</c:v>
                </c:pt>
                <c:pt idx="36">
                  <c:v>1.1029554477282753</c:v>
                </c:pt>
                <c:pt idx="37">
                  <c:v>1.1035730039700045</c:v>
                </c:pt>
                <c:pt idx="38">
                  <c:v>1.1366563740626379</c:v>
                </c:pt>
                <c:pt idx="39">
                  <c:v>1.2149977944419939</c:v>
                </c:pt>
                <c:pt idx="40">
                  <c:v>1.2138067931186591</c:v>
                </c:pt>
                <c:pt idx="41">
                  <c:v>1.2137185707984122</c:v>
                </c:pt>
                <c:pt idx="42">
                  <c:v>1.2142384544131268</c:v>
                </c:pt>
                <c:pt idx="43">
                  <c:v>1.217370208636584</c:v>
                </c:pt>
              </c:numCache>
            </c:numRef>
          </c:xVal>
          <c:yVal>
            <c:numRef>
              <c:f>Sheet1!$B$2:$B$45</c:f>
              <c:numCache>
                <c:formatCode>General</c:formatCode>
                <c:ptCount val="44"/>
                <c:pt idx="0">
                  <c:v>0.15700179190971825</c:v>
                </c:pt>
                <c:pt idx="1">
                  <c:v>0.14916978859671667</c:v>
                </c:pt>
                <c:pt idx="2">
                  <c:v>0.13543505233909442</c:v>
                </c:pt>
                <c:pt idx="3">
                  <c:v>0.1474798453299475</c:v>
                </c:pt>
                <c:pt idx="4">
                  <c:v>0.14511883393698516</c:v>
                </c:pt>
                <c:pt idx="5">
                  <c:v>0.13530019592864073</c:v>
                </c:pt>
                <c:pt idx="6">
                  <c:v>0.1382506409353134</c:v>
                </c:pt>
                <c:pt idx="7">
                  <c:v>0.13886239858144403</c:v>
                </c:pt>
                <c:pt idx="8">
                  <c:v>0.1326014110594257</c:v>
                </c:pt>
                <c:pt idx="9">
                  <c:v>0.13849388341824512</c:v>
                </c:pt>
                <c:pt idx="10">
                  <c:v>0.13978904070536968</c:v>
                </c:pt>
                <c:pt idx="11">
                  <c:v>0.14760346808562652</c:v>
                </c:pt>
                <c:pt idx="12">
                  <c:v>0.14090566784372394</c:v>
                </c:pt>
                <c:pt idx="13">
                  <c:v>0.1356485716502388</c:v>
                </c:pt>
                <c:pt idx="14">
                  <c:v>0.1519292533960476</c:v>
                </c:pt>
                <c:pt idx="15">
                  <c:v>0.15019099909790515</c:v>
                </c:pt>
                <c:pt idx="16">
                  <c:v>0.1505805220821981</c:v>
                </c:pt>
                <c:pt idx="17">
                  <c:v>0.13431502500640477</c:v>
                </c:pt>
                <c:pt idx="18">
                  <c:v>0.1555814875866322</c:v>
                </c:pt>
                <c:pt idx="19">
                  <c:v>0.14550665651399475</c:v>
                </c:pt>
                <c:pt idx="20">
                  <c:v>0.16941982324708768</c:v>
                </c:pt>
                <c:pt idx="21">
                  <c:v>0.14528086400101872</c:v>
                </c:pt>
                <c:pt idx="22">
                  <c:v>0.13716720886820047</c:v>
                </c:pt>
                <c:pt idx="23">
                  <c:v>0.14667266894520153</c:v>
                </c:pt>
                <c:pt idx="24">
                  <c:v>0.1379668512669995</c:v>
                </c:pt>
                <c:pt idx="25">
                  <c:v>0.15232287378485312</c:v>
                </c:pt>
                <c:pt idx="26">
                  <c:v>0.12409103330600602</c:v>
                </c:pt>
                <c:pt idx="27">
                  <c:v>0.1552299816250528</c:v>
                </c:pt>
                <c:pt idx="28">
                  <c:v>0.14017573609913936</c:v>
                </c:pt>
                <c:pt idx="29">
                  <c:v>0.1467684220526299</c:v>
                </c:pt>
                <c:pt idx="30">
                  <c:v>0.14665908121177643</c:v>
                </c:pt>
                <c:pt idx="31">
                  <c:v>0.1494245417647386</c:v>
                </c:pt>
                <c:pt idx="32">
                  <c:v>0.1461520984490696</c:v>
                </c:pt>
                <c:pt idx="33">
                  <c:v>0.10953536171512296</c:v>
                </c:pt>
                <c:pt idx="34">
                  <c:v>0.12925014683808653</c:v>
                </c:pt>
                <c:pt idx="35">
                  <c:v>0.1595933559365541</c:v>
                </c:pt>
                <c:pt idx="36">
                  <c:v>0.1763652229825931</c:v>
                </c:pt>
                <c:pt idx="37">
                  <c:v>0.11937843685047288</c:v>
                </c:pt>
                <c:pt idx="38">
                  <c:v>0.1557978861647752</c:v>
                </c:pt>
                <c:pt idx="39">
                  <c:v>0.12161721611388046</c:v>
                </c:pt>
                <c:pt idx="40">
                  <c:v>0.13932072377804872</c:v>
                </c:pt>
                <c:pt idx="41">
                  <c:v>0.12834430647433986</c:v>
                </c:pt>
                <c:pt idx="42">
                  <c:v>0.1494084294084294</c:v>
                </c:pt>
                <c:pt idx="43">
                  <c:v>0.15621928305394148</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2030436700485223</c:v>
                </c:pt>
                <c:pt idx="1">
                  <c:v>1.2201588001764445</c:v>
                </c:pt>
                <c:pt idx="2">
                  <c:v>1.2211636010762648</c:v>
                </c:pt>
                <c:pt idx="3">
                  <c:v>1.2227172474636083</c:v>
                </c:pt>
                <c:pt idx="4">
                  <c:v>1.219938244375827</c:v>
                </c:pt>
                <c:pt idx="5">
                  <c:v>1.224349360388178</c:v>
                </c:pt>
                <c:pt idx="6">
                  <c:v>1.2179091310101458</c:v>
                </c:pt>
                <c:pt idx="7">
                  <c:v>1.2182523929248819</c:v>
                </c:pt>
                <c:pt idx="8">
                  <c:v>1.1254080282311425</c:v>
                </c:pt>
                <c:pt idx="9">
                  <c:v>1.0105421022451588</c:v>
                </c:pt>
                <c:pt idx="10">
                  <c:v>1.006043228936921</c:v>
                </c:pt>
                <c:pt idx="11">
                  <c:v>1.1151301279223644</c:v>
                </c:pt>
                <c:pt idx="12">
                  <c:v>1.2233348037053375</c:v>
                </c:pt>
                <c:pt idx="13">
                  <c:v>1.2208548365753604</c:v>
                </c:pt>
                <c:pt idx="14">
                  <c:v>1.112836347595942</c:v>
                </c:pt>
                <c:pt idx="15">
                  <c:v>1.009704027171276</c:v>
                </c:pt>
                <c:pt idx="16">
                  <c:v>1.0078958976621086</c:v>
                </c:pt>
                <c:pt idx="17">
                  <c:v>1.0748092276476555</c:v>
                </c:pt>
                <c:pt idx="18">
                  <c:v>1.2218791354212617</c:v>
                </c:pt>
                <c:pt idx="19">
                  <c:v>1.2224966916629907</c:v>
                </c:pt>
                <c:pt idx="20">
                  <c:v>1.218649375854616</c:v>
                </c:pt>
                <c:pt idx="21">
                  <c:v>1.2236435818262021</c:v>
                </c:pt>
                <c:pt idx="22">
                  <c:v>1.21318923687693</c:v>
                </c:pt>
                <c:pt idx="23">
                  <c:v>1.0926775474194972</c:v>
                </c:pt>
                <c:pt idx="24">
                  <c:v>1.0074547860608734</c:v>
                </c:pt>
                <c:pt idx="25">
                  <c:v>1.007675003308191</c:v>
                </c:pt>
                <c:pt idx="26">
                  <c:v>1.0576532862814292</c:v>
                </c:pt>
                <c:pt idx="27">
                  <c:v>1.1678429642699604</c:v>
                </c:pt>
                <c:pt idx="28">
                  <c:v>1.1655932951036612</c:v>
                </c:pt>
                <c:pt idx="29">
                  <c:v>1.1857079841199825</c:v>
                </c:pt>
                <c:pt idx="30">
                  <c:v>1.1850904278782532</c:v>
                </c:pt>
                <c:pt idx="31">
                  <c:v>1.1831936479929424</c:v>
                </c:pt>
                <c:pt idx="32">
                  <c:v>1.18856689162366</c:v>
                </c:pt>
                <c:pt idx="33">
                  <c:v>1.1845169827966475</c:v>
                </c:pt>
                <c:pt idx="34">
                  <c:v>1.1869348506903092</c:v>
                </c:pt>
                <c:pt idx="35">
                  <c:v>1.18429642699603</c:v>
                </c:pt>
                <c:pt idx="36">
                  <c:v>1.182126946319086</c:v>
                </c:pt>
                <c:pt idx="37">
                  <c:v>1.1898103220114689</c:v>
                </c:pt>
                <c:pt idx="38">
                  <c:v>1.0472409686383486</c:v>
                </c:pt>
                <c:pt idx="39">
                  <c:v>0.9820908689898544</c:v>
                </c:pt>
                <c:pt idx="40">
                  <c:v>0.9760045873582991</c:v>
                </c:pt>
                <c:pt idx="41">
                  <c:v>1.0691221879135422</c:v>
                </c:pt>
                <c:pt idx="42">
                  <c:v>1.1847375385972652</c:v>
                </c:pt>
                <c:pt idx="43">
                  <c:v>1.1925808301354153</c:v>
                </c:pt>
                <c:pt idx="44">
                  <c:v>1.078249746372017</c:v>
                </c:pt>
                <c:pt idx="45">
                  <c:v>0.9780326422584915</c:v>
                </c:pt>
                <c:pt idx="46">
                  <c:v>0.9779012835781394</c:v>
                </c:pt>
                <c:pt idx="47">
                  <c:v>1.0900308778120864</c:v>
                </c:pt>
                <c:pt idx="48">
                  <c:v>1.1856556834722773</c:v>
                </c:pt>
                <c:pt idx="49">
                  <c:v>1.1895015438906045</c:v>
                </c:pt>
                <c:pt idx="50">
                  <c:v>1.1868548742831937</c:v>
                </c:pt>
                <c:pt idx="51">
                  <c:v>1.186193206881341</c:v>
                </c:pt>
              </c:numCache>
            </c:numRef>
          </c:xVal>
          <c:yVal>
            <c:numRef>
              <c:f>Sheet1!$B$48:$B$99</c:f>
              <c:numCache>
                <c:formatCode>General</c:formatCode>
                <c:ptCount val="52"/>
                <c:pt idx="0">
                  <c:v>0.14404961840594557</c:v>
                </c:pt>
                <c:pt idx="1">
                  <c:v>0.16649673982252383</c:v>
                </c:pt>
                <c:pt idx="2">
                  <c:v>0.1630340972916695</c:v>
                </c:pt>
                <c:pt idx="3">
                  <c:v>0.13129016795954102</c:v>
                </c:pt>
                <c:pt idx="4">
                  <c:v>0.15851595071263294</c:v>
                </c:pt>
                <c:pt idx="5">
                  <c:v>0.15676922986820555</c:v>
                </c:pt>
                <c:pt idx="6">
                  <c:v>0.1426573951700108</c:v>
                </c:pt>
                <c:pt idx="7">
                  <c:v>0.13818466029669044</c:v>
                </c:pt>
                <c:pt idx="8">
                  <c:v>0.1426955517588347</c:v>
                </c:pt>
                <c:pt idx="9">
                  <c:v>0.19652518143831096</c:v>
                </c:pt>
                <c:pt idx="10">
                  <c:v>0.16079629904875148</c:v>
                </c:pt>
                <c:pt idx="11">
                  <c:v>0.1426576422206991</c:v>
                </c:pt>
                <c:pt idx="12">
                  <c:v>0.14190283185383273</c:v>
                </c:pt>
                <c:pt idx="13">
                  <c:v>0.12507841980579978</c:v>
                </c:pt>
                <c:pt idx="14">
                  <c:v>0.1547943381994054</c:v>
                </c:pt>
                <c:pt idx="15">
                  <c:v>0.16591827532807912</c:v>
                </c:pt>
                <c:pt idx="16">
                  <c:v>0.14248611164817035</c:v>
                </c:pt>
                <c:pt idx="17">
                  <c:v>0.17270658875173</c:v>
                </c:pt>
                <c:pt idx="18">
                  <c:v>0.13526788214233457</c:v>
                </c:pt>
                <c:pt idx="19">
                  <c:v>0.14877744231987775</c:v>
                </c:pt>
                <c:pt idx="20">
                  <c:v>0.13105417298267819</c:v>
                </c:pt>
                <c:pt idx="21">
                  <c:v>0.13948992722161302</c:v>
                </c:pt>
                <c:pt idx="22">
                  <c:v>0.17945306816731235</c:v>
                </c:pt>
                <c:pt idx="23">
                  <c:v>0.15750675510719206</c:v>
                </c:pt>
                <c:pt idx="24">
                  <c:v>0.17713263986183123</c:v>
                </c:pt>
                <c:pt idx="25">
                  <c:v>0.1719977480026583</c:v>
                </c:pt>
                <c:pt idx="26">
                  <c:v>0.16430690184861485</c:v>
                </c:pt>
                <c:pt idx="27">
                  <c:v>0.15164661308306174</c:v>
                </c:pt>
                <c:pt idx="28">
                  <c:v>0.11020325750437475</c:v>
                </c:pt>
                <c:pt idx="29">
                  <c:v>0.16405295080833007</c:v>
                </c:pt>
                <c:pt idx="30">
                  <c:v>0.13785064355570276</c:v>
                </c:pt>
                <c:pt idx="31">
                  <c:v>0.15171283830589538</c:v>
                </c:pt>
                <c:pt idx="32">
                  <c:v>0.1692782605777942</c:v>
                </c:pt>
                <c:pt idx="33">
                  <c:v>0.14440597173293998</c:v>
                </c:pt>
                <c:pt idx="34">
                  <c:v>0.14059057483762052</c:v>
                </c:pt>
                <c:pt idx="35">
                  <c:v>0.13332501171358432</c:v>
                </c:pt>
                <c:pt idx="36">
                  <c:v>0.18329919488408813</c:v>
                </c:pt>
                <c:pt idx="37">
                  <c:v>0.1027049053434381</c:v>
                </c:pt>
                <c:pt idx="38">
                  <c:v>0.2183121803955394</c:v>
                </c:pt>
                <c:pt idx="39">
                  <c:v>0.17125747618696005</c:v>
                </c:pt>
                <c:pt idx="40">
                  <c:v>0.14476755503416863</c:v>
                </c:pt>
                <c:pt idx="41">
                  <c:v>0.14952851698492609</c:v>
                </c:pt>
                <c:pt idx="42">
                  <c:v>0.13769553810758037</c:v>
                </c:pt>
                <c:pt idx="43">
                  <c:v>0.1257977898568467</c:v>
                </c:pt>
                <c:pt idx="44">
                  <c:v>0.17708698040165735</c:v>
                </c:pt>
                <c:pt idx="45">
                  <c:v>0.18809597570925063</c:v>
                </c:pt>
                <c:pt idx="46">
                  <c:v>0.17794563352766515</c:v>
                </c:pt>
                <c:pt idx="47">
                  <c:v>0.17099886000759995</c:v>
                </c:pt>
                <c:pt idx="48">
                  <c:v>0.14674169227826997</c:v>
                </c:pt>
                <c:pt idx="49">
                  <c:v>0.1438746871123684</c:v>
                </c:pt>
                <c:pt idx="50">
                  <c:v>0.1292880555810404</c:v>
                </c:pt>
                <c:pt idx="51">
                  <c:v>0.14910559606784576</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1281615378577194</c:v>
                </c:pt>
              </c:numCache>
            </c:numRef>
          </c:xVal>
          <c:yVal>
            <c:numRef>
              <c:f>Sheet1!$B$102:$B$103</c:f>
              <c:numCache>
                <c:formatCode>General</c:formatCode>
                <c:ptCount val="2"/>
                <c:pt idx="0">
                  <c:v>0.15478341206585994</c:v>
                </c:pt>
                <c:pt idx="1">
                  <c:v>0.15478341206585994</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1281615378577194</c:v>
                </c:pt>
                <c:pt idx="1">
                  <c:v>1.1281615378577194</c:v>
                </c:pt>
              </c:numCache>
            </c:numRef>
          </c:xVal>
          <c:yVal>
            <c:numRef>
              <c:f>Sheet1!$B$106:$B$107</c:f>
              <c:numCache>
                <c:formatCode>General</c:formatCode>
                <c:ptCount val="2"/>
                <c:pt idx="0">
                  <c:v>0.1547834120658599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1281615378577194</c:v>
                </c:pt>
              </c:numCache>
            </c:numRef>
          </c:xVal>
          <c:yVal>
            <c:numRef>
              <c:f>Sheet1!$B$110:$B$111</c:f>
              <c:numCache>
                <c:formatCode>General</c:formatCode>
                <c:ptCount val="2"/>
                <c:pt idx="0">
                  <c:v>0.15478341206585994</c:v>
                </c:pt>
                <c:pt idx="1">
                  <c:v>0.15478341206585994</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1281615378577194</c:v>
                </c:pt>
                <c:pt idx="1">
                  <c:v>1.1281615378577194</c:v>
                </c:pt>
              </c:numCache>
            </c:numRef>
          </c:xVal>
          <c:yVal>
            <c:numRef>
              <c:f>Sheet1!$B$114:$B$115</c:f>
              <c:numCache>
                <c:formatCode>General</c:formatCode>
                <c:ptCount val="2"/>
                <c:pt idx="0">
                  <c:v>0.154783412065859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1281615378577192</c:v>
                </c:pt>
              </c:numCache>
            </c:numRef>
          </c:xVal>
          <c:yVal>
            <c:numRef>
              <c:f>Sheet1!$B$118:$B$119</c:f>
              <c:numCache>
                <c:formatCode>General</c:formatCode>
                <c:ptCount val="2"/>
                <c:pt idx="0">
                  <c:v>0.15478341206585997</c:v>
                </c:pt>
                <c:pt idx="1">
                  <c:v>0.15478341206585997</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1281615378577192</c:v>
                </c:pt>
                <c:pt idx="1">
                  <c:v>1.1281615378577192</c:v>
                </c:pt>
              </c:numCache>
            </c:numRef>
          </c:xVal>
          <c:yVal>
            <c:numRef>
              <c:f>Sheet1!$B$122:$B$123</c:f>
              <c:numCache>
                <c:formatCode>General</c:formatCode>
                <c:ptCount val="2"/>
                <c:pt idx="0">
                  <c:v>0.1547834120658599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2030436700485223</c:v>
                </c:pt>
                <c:pt idx="1">
                  <c:v>1.2201588001764445</c:v>
                </c:pt>
                <c:pt idx="2">
                  <c:v>1.2211636010762648</c:v>
                </c:pt>
                <c:pt idx="3">
                  <c:v>1.2227172474636083</c:v>
                </c:pt>
                <c:pt idx="4">
                  <c:v>1.219938244375827</c:v>
                </c:pt>
                <c:pt idx="5">
                  <c:v>1.224349360388178</c:v>
                </c:pt>
                <c:pt idx="6">
                  <c:v>1.2179091310101458</c:v>
                </c:pt>
                <c:pt idx="7">
                  <c:v>1.2182523929248819</c:v>
                </c:pt>
                <c:pt idx="8">
                  <c:v>1.1254080282311425</c:v>
                </c:pt>
                <c:pt idx="9">
                  <c:v>1.0105421022451588</c:v>
                </c:pt>
                <c:pt idx="10">
                  <c:v>1.006043228936921</c:v>
                </c:pt>
                <c:pt idx="11">
                  <c:v>1.1151301279223644</c:v>
                </c:pt>
                <c:pt idx="12">
                  <c:v>1.2233348037053375</c:v>
                </c:pt>
                <c:pt idx="13">
                  <c:v>1.2208548365753604</c:v>
                </c:pt>
                <c:pt idx="14">
                  <c:v>1.112836347595942</c:v>
                </c:pt>
                <c:pt idx="15">
                  <c:v>1.009704027171276</c:v>
                </c:pt>
                <c:pt idx="16">
                  <c:v>1.0078958976621086</c:v>
                </c:pt>
                <c:pt idx="17">
                  <c:v>1.0748092276476555</c:v>
                </c:pt>
                <c:pt idx="18">
                  <c:v>1.2218791354212617</c:v>
                </c:pt>
                <c:pt idx="19">
                  <c:v>1.2224966916629907</c:v>
                </c:pt>
                <c:pt idx="20">
                  <c:v>1.218649375854616</c:v>
                </c:pt>
                <c:pt idx="21">
                  <c:v>1.2236435818262021</c:v>
                </c:pt>
                <c:pt idx="22">
                  <c:v>1.21318923687693</c:v>
                </c:pt>
                <c:pt idx="23">
                  <c:v>1.0926775474194972</c:v>
                </c:pt>
                <c:pt idx="24">
                  <c:v>1.0074547860608734</c:v>
                </c:pt>
                <c:pt idx="25">
                  <c:v>1.007675003308191</c:v>
                </c:pt>
                <c:pt idx="26">
                  <c:v>1.0576532862814292</c:v>
                </c:pt>
                <c:pt idx="27">
                  <c:v>1.1678429642699604</c:v>
                </c:pt>
                <c:pt idx="28">
                  <c:v>1.1655932951036612</c:v>
                </c:pt>
                <c:pt idx="29">
                  <c:v>1.1857079841199825</c:v>
                </c:pt>
                <c:pt idx="30">
                  <c:v>1.1850904278782532</c:v>
                </c:pt>
                <c:pt idx="31">
                  <c:v>1.1831936479929424</c:v>
                </c:pt>
                <c:pt idx="32">
                  <c:v>1.18856689162366</c:v>
                </c:pt>
                <c:pt idx="33">
                  <c:v>1.1845169827966475</c:v>
                </c:pt>
                <c:pt idx="34">
                  <c:v>1.1869348506903092</c:v>
                </c:pt>
                <c:pt idx="35">
                  <c:v>1.18429642699603</c:v>
                </c:pt>
                <c:pt idx="36">
                  <c:v>1.182126946319086</c:v>
                </c:pt>
                <c:pt idx="37">
                  <c:v>1.1898103220114689</c:v>
                </c:pt>
                <c:pt idx="38">
                  <c:v>1.0472409686383486</c:v>
                </c:pt>
                <c:pt idx="39">
                  <c:v>0.9820908689898544</c:v>
                </c:pt>
                <c:pt idx="40">
                  <c:v>0.9760045873582991</c:v>
                </c:pt>
                <c:pt idx="41">
                  <c:v>1.0691221879135422</c:v>
                </c:pt>
                <c:pt idx="42">
                  <c:v>1.1847375385972652</c:v>
                </c:pt>
                <c:pt idx="43">
                  <c:v>1.1925808301354153</c:v>
                </c:pt>
                <c:pt idx="44">
                  <c:v>1.078249746372017</c:v>
                </c:pt>
                <c:pt idx="45">
                  <c:v>0.9780326422584915</c:v>
                </c:pt>
                <c:pt idx="46">
                  <c:v>0.9779012835781394</c:v>
                </c:pt>
                <c:pt idx="47">
                  <c:v>1.0900308778120864</c:v>
                </c:pt>
                <c:pt idx="48">
                  <c:v>1.1856556834722773</c:v>
                </c:pt>
                <c:pt idx="49">
                  <c:v>1.1895015438906045</c:v>
                </c:pt>
                <c:pt idx="50">
                  <c:v>1.1868548742831937</c:v>
                </c:pt>
                <c:pt idx="51">
                  <c:v>1.186193206881341</c:v>
                </c:pt>
                <c:pt idx="52">
                  <c:v>1.1281615378577194</c:v>
                </c:pt>
                <c:pt idx="53">
                  <c:v>1.1281615378577194</c:v>
                </c:pt>
                <c:pt idx="54">
                  <c:v>1.1281615378577192</c:v>
                </c:pt>
              </c:numCache>
            </c:numRef>
          </c:xVal>
          <c:yVal>
            <c:numRef>
              <c:f>Sheet1!$B$126:$B$180</c:f>
              <c:numCache>
                <c:formatCode>General</c:formatCode>
                <c:ptCount val="55"/>
                <c:pt idx="0">
                  <c:v>0.1448111112619021</c:v>
                </c:pt>
                <c:pt idx="1">
                  <c:v>0.14253183286876514</c:v>
                </c:pt>
                <c:pt idx="2">
                  <c:v>0.1423980202150928</c:v>
                </c:pt>
                <c:pt idx="3">
                  <c:v>0.14219111599556425</c:v>
                </c:pt>
                <c:pt idx="4">
                  <c:v>0.1425612050130066</c:v>
                </c:pt>
                <c:pt idx="5">
                  <c:v>0.14197376212817747</c:v>
                </c:pt>
                <c:pt idx="6">
                  <c:v>0.14283142874002797</c:v>
                </c:pt>
                <c:pt idx="7">
                  <c:v>0.14278571541739488</c:v>
                </c:pt>
                <c:pt idx="8">
                  <c:v>0.15515010603489454</c:v>
                </c:pt>
                <c:pt idx="9">
                  <c:v>0.1704471806846743</c:v>
                </c:pt>
                <c:pt idx="10">
                  <c:v>0.17104631049837044</c:v>
                </c:pt>
                <c:pt idx="11">
                  <c:v>0.15651884795654636</c:v>
                </c:pt>
                <c:pt idx="12">
                  <c:v>0.14210887399168814</c:v>
                </c:pt>
                <c:pt idx="13">
                  <c:v>0.14243913940321576</c:v>
                </c:pt>
                <c:pt idx="14">
                  <c:v>0.1568243182566575</c:v>
                </c:pt>
                <c:pt idx="15">
                  <c:v>0.1705587899095794</c:v>
                </c:pt>
                <c:pt idx="16">
                  <c:v>0.17079958448674218</c:v>
                </c:pt>
                <c:pt idx="17">
                  <c:v>0.16188851538536952</c:v>
                </c:pt>
                <c:pt idx="18">
                  <c:v>0.14230273014368175</c:v>
                </c:pt>
                <c:pt idx="19">
                  <c:v>0.1422204881398057</c:v>
                </c:pt>
                <c:pt idx="20">
                  <c:v>0.14273284788980822</c:v>
                </c:pt>
                <c:pt idx="21">
                  <c:v>0.1420677529897501</c:v>
                </c:pt>
                <c:pt idx="22">
                  <c:v>0.14345999262679512</c:v>
                </c:pt>
                <c:pt idx="23">
                  <c:v>0.15950893224032658</c:v>
                </c:pt>
                <c:pt idx="24">
                  <c:v>0.1708583287752251</c:v>
                </c:pt>
                <c:pt idx="25">
                  <c:v>0.1708290017172445</c:v>
                </c:pt>
                <c:pt idx="26">
                  <c:v>0.16417322874586976</c:v>
                </c:pt>
                <c:pt idx="27">
                  <c:v>0.14949890548283842</c:v>
                </c:pt>
                <c:pt idx="28">
                  <c:v>0.1497985013541013</c:v>
                </c:pt>
                <c:pt idx="29">
                  <c:v>0.14711976179928052</c:v>
                </c:pt>
                <c:pt idx="30">
                  <c:v>0.1472020038031566</c:v>
                </c:pt>
                <c:pt idx="31">
                  <c:v>0.1474546042436331</c:v>
                </c:pt>
                <c:pt idx="32">
                  <c:v>0.1467390316469296</c:v>
                </c:pt>
                <c:pt idx="33">
                  <c:v>0.1472783713781844</c:v>
                </c:pt>
                <c:pt idx="34">
                  <c:v>0.14695637592700803</c:v>
                </c:pt>
                <c:pt idx="35">
                  <c:v>0.14730774352242582</c:v>
                </c:pt>
                <c:pt idx="36">
                  <c:v>0.14759666042777964</c:v>
                </c:pt>
                <c:pt idx="37">
                  <c:v>0.14657343991638946</c:v>
                </c:pt>
                <c:pt idx="38">
                  <c:v>0.16555987146777545</c:v>
                </c:pt>
                <c:pt idx="39">
                  <c:v>0.17423612536299252</c:v>
                </c:pt>
                <c:pt idx="40">
                  <c:v>0.17504665558471244</c:v>
                </c:pt>
                <c:pt idx="41">
                  <c:v>0.16264587724531404</c:v>
                </c:pt>
                <c:pt idx="42">
                  <c:v>0.1472489992339429</c:v>
                </c:pt>
                <c:pt idx="43">
                  <c:v>0.14620448220133128</c:v>
                </c:pt>
                <c:pt idx="44">
                  <c:v>0.16143033014628524</c:v>
                </c:pt>
                <c:pt idx="45">
                  <c:v>0.1747765728170353</c:v>
                </c:pt>
                <c:pt idx="46">
                  <c:v>0.17479406628624292</c:v>
                </c:pt>
                <c:pt idx="47">
                  <c:v>0.15986139797122406</c:v>
                </c:pt>
                <c:pt idx="48">
                  <c:v>0.14712672684923164</c:v>
                </c:pt>
                <c:pt idx="49">
                  <c:v>0.14661456091832747</c:v>
                </c:pt>
                <c:pt idx="50">
                  <c:v>0.14696702664922495</c:v>
                </c:pt>
                <c:pt idx="51">
                  <c:v>0.1470551430819493</c:v>
                </c:pt>
                <c:pt idx="52">
                  <c:v>0.15478341206585994</c:v>
                </c:pt>
                <c:pt idx="53">
                  <c:v>0.15478341206585994</c:v>
                </c:pt>
                <c:pt idx="54">
                  <c:v>0.1547834120658599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197461647464726"/>
          <c:min val="0.0821639242747504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756</c:v>
                </c:pt>
                <c:pt idx="1">
                  <c:v>2.728</c:v>
                </c:pt>
                <c:pt idx="2">
                  <c:v>2.7312</c:v>
                </c:pt>
                <c:pt idx="3">
                  <c:v>2.7424</c:v>
                </c:pt>
                <c:pt idx="4">
                  <c:v>2.7356</c:v>
                </c:pt>
                <c:pt idx="5">
                  <c:v>2.7404</c:v>
                </c:pt>
                <c:pt idx="6">
                  <c:v>2.739</c:v>
                </c:pt>
                <c:pt idx="7">
                  <c:v>2.7386</c:v>
                </c:pt>
                <c:pt idx="8">
                  <c:v>2.7628</c:v>
                </c:pt>
                <c:pt idx="9">
                  <c:v>2.7513</c:v>
                </c:pt>
                <c:pt idx="10">
                  <c:v>2.7358</c:v>
                </c:pt>
                <c:pt idx="11">
                  <c:v>2.7561</c:v>
                </c:pt>
                <c:pt idx="12">
                  <c:v>2.7664</c:v>
                </c:pt>
                <c:pt idx="13">
                  <c:v>2.7545</c:v>
                </c:pt>
                <c:pt idx="14">
                  <c:v>2.7548</c:v>
                </c:pt>
                <c:pt idx="15">
                  <c:v>2.7535</c:v>
                </c:pt>
                <c:pt idx="16">
                  <c:v>2.7561</c:v>
                </c:pt>
                <c:pt idx="17">
                  <c:v>2.7593</c:v>
                </c:pt>
                <c:pt idx="18">
                  <c:v>2.7548</c:v>
                </c:pt>
                <c:pt idx="19">
                  <c:v>2.7551</c:v>
                </c:pt>
                <c:pt idx="20">
                  <c:v>2.7527</c:v>
                </c:pt>
                <c:pt idx="21">
                  <c:v>2.7554</c:v>
                </c:pt>
                <c:pt idx="22">
                  <c:v>2.7535</c:v>
                </c:pt>
                <c:pt idx="23">
                  <c:v>2.7539</c:v>
                </c:pt>
                <c:pt idx="24">
                  <c:v>2.7517</c:v>
                </c:pt>
                <c:pt idx="25">
                  <c:v>2.7522</c:v>
                </c:pt>
                <c:pt idx="26">
                  <c:v>2.7537</c:v>
                </c:pt>
                <c:pt idx="27">
                  <c:v>2.7612</c:v>
                </c:pt>
                <c:pt idx="28">
                  <c:v>2.7502</c:v>
                </c:pt>
                <c:pt idx="29">
                  <c:v>2.7527</c:v>
                </c:pt>
                <c:pt idx="30">
                  <c:v>2.7489</c:v>
                </c:pt>
                <c:pt idx="31">
                  <c:v>2.7547</c:v>
                </c:pt>
                <c:pt idx="32">
                  <c:v>2.754</c:v>
                </c:pt>
                <c:pt idx="33">
                  <c:v>2.7545</c:v>
                </c:pt>
                <c:pt idx="34">
                  <c:v>2.7544</c:v>
                </c:pt>
                <c:pt idx="35">
                  <c:v>2.7314</c:v>
                </c:pt>
                <c:pt idx="36">
                  <c:v>2.5004</c:v>
                </c:pt>
                <c:pt idx="37">
                  <c:v>2.5018</c:v>
                </c:pt>
                <c:pt idx="38">
                  <c:v>2.5768</c:v>
                </c:pt>
                <c:pt idx="39">
                  <c:v>2.7544</c:v>
                </c:pt>
                <c:pt idx="40">
                  <c:v>2.7517</c:v>
                </c:pt>
                <c:pt idx="41">
                  <c:v>2.7515</c:v>
                </c:pt>
                <c:pt idx="42">
                  <c:v>2.7528</c:v>
                </c:pt>
                <c:pt idx="43">
                  <c:v>2.7599</c:v>
                </c:pt>
              </c:numCache>
            </c:numRef>
          </c:xVal>
          <c:yVal>
            <c:numRef>
              <c:f>Sheet1!$B$2:$B$45</c:f>
              <c:numCache>
                <c:formatCode>General</c:formatCode>
                <c:ptCount val="44"/>
                <c:pt idx="0">
                  <c:v>0.15700179190971825</c:v>
                </c:pt>
                <c:pt idx="1">
                  <c:v>0.14916978859671667</c:v>
                </c:pt>
                <c:pt idx="2">
                  <c:v>0.13543505233909442</c:v>
                </c:pt>
                <c:pt idx="3">
                  <c:v>0.1474798453299475</c:v>
                </c:pt>
                <c:pt idx="4">
                  <c:v>0.14511883393698516</c:v>
                </c:pt>
                <c:pt idx="5">
                  <c:v>0.13530019592864073</c:v>
                </c:pt>
                <c:pt idx="6">
                  <c:v>0.1382506409353134</c:v>
                </c:pt>
                <c:pt idx="7">
                  <c:v>0.13886239858144403</c:v>
                </c:pt>
                <c:pt idx="8">
                  <c:v>0.1326014110594257</c:v>
                </c:pt>
                <c:pt idx="9">
                  <c:v>0.13849388341824512</c:v>
                </c:pt>
                <c:pt idx="10">
                  <c:v>0.13978904070536968</c:v>
                </c:pt>
                <c:pt idx="11">
                  <c:v>0.14760346808562652</c:v>
                </c:pt>
                <c:pt idx="12">
                  <c:v>0.14090566784372394</c:v>
                </c:pt>
                <c:pt idx="13">
                  <c:v>0.1356485716502388</c:v>
                </c:pt>
                <c:pt idx="14">
                  <c:v>0.1519292533960476</c:v>
                </c:pt>
                <c:pt idx="15">
                  <c:v>0.15019099909790515</c:v>
                </c:pt>
                <c:pt idx="16">
                  <c:v>0.1505805220821981</c:v>
                </c:pt>
                <c:pt idx="17">
                  <c:v>0.13431502500640477</c:v>
                </c:pt>
                <c:pt idx="18">
                  <c:v>0.1555814875866322</c:v>
                </c:pt>
                <c:pt idx="19">
                  <c:v>0.14550665651399475</c:v>
                </c:pt>
                <c:pt idx="20">
                  <c:v>0.16941982324708768</c:v>
                </c:pt>
                <c:pt idx="21">
                  <c:v>0.14528086400101872</c:v>
                </c:pt>
                <c:pt idx="22">
                  <c:v>0.13716720886820047</c:v>
                </c:pt>
                <c:pt idx="23">
                  <c:v>0.14667266894520153</c:v>
                </c:pt>
                <c:pt idx="24">
                  <c:v>0.1379668512669995</c:v>
                </c:pt>
                <c:pt idx="25">
                  <c:v>0.15232287378485312</c:v>
                </c:pt>
                <c:pt idx="26">
                  <c:v>0.12409103330600602</c:v>
                </c:pt>
                <c:pt idx="27">
                  <c:v>0.1552299816250528</c:v>
                </c:pt>
                <c:pt idx="28">
                  <c:v>0.14017573609913936</c:v>
                </c:pt>
                <c:pt idx="29">
                  <c:v>0.1467684220526299</c:v>
                </c:pt>
                <c:pt idx="30">
                  <c:v>0.14665908121177643</c:v>
                </c:pt>
                <c:pt idx="31">
                  <c:v>0.1494245417647386</c:v>
                </c:pt>
                <c:pt idx="32">
                  <c:v>0.1461520984490696</c:v>
                </c:pt>
                <c:pt idx="33">
                  <c:v>0.10953536171512296</c:v>
                </c:pt>
                <c:pt idx="34">
                  <c:v>0.12925014683808653</c:v>
                </c:pt>
                <c:pt idx="35">
                  <c:v>0.1595933559365541</c:v>
                </c:pt>
                <c:pt idx="36">
                  <c:v>0.1763652229825931</c:v>
                </c:pt>
                <c:pt idx="37">
                  <c:v>0.11937843685047288</c:v>
                </c:pt>
                <c:pt idx="38">
                  <c:v>0.1557978861647752</c:v>
                </c:pt>
                <c:pt idx="39">
                  <c:v>0.12161721611388046</c:v>
                </c:pt>
                <c:pt idx="40">
                  <c:v>0.13932072377804872</c:v>
                </c:pt>
                <c:pt idx="41">
                  <c:v>0.12834430647433986</c:v>
                </c:pt>
                <c:pt idx="42">
                  <c:v>0.1494084294084294</c:v>
                </c:pt>
                <c:pt idx="43">
                  <c:v>0.15621928305394148</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numCache>
            </c:numRef>
          </c:xVal>
          <c:yVal>
            <c:numRef>
              <c:f>Sheet1!$B$48:$B$99</c:f>
              <c:numCache>
                <c:formatCode>General</c:formatCode>
                <c:ptCount val="52"/>
                <c:pt idx="0">
                  <c:v>0.14404961840594557</c:v>
                </c:pt>
                <c:pt idx="1">
                  <c:v>0.16649673982252383</c:v>
                </c:pt>
                <c:pt idx="2">
                  <c:v>0.1630340972916695</c:v>
                </c:pt>
                <c:pt idx="3">
                  <c:v>0.13129016795954102</c:v>
                </c:pt>
                <c:pt idx="4">
                  <c:v>0.15851595071263294</c:v>
                </c:pt>
                <c:pt idx="5">
                  <c:v>0.15676922986820555</c:v>
                </c:pt>
                <c:pt idx="6">
                  <c:v>0.1426573951700108</c:v>
                </c:pt>
                <c:pt idx="7">
                  <c:v>0.13818466029669044</c:v>
                </c:pt>
                <c:pt idx="8">
                  <c:v>0.1426955517588347</c:v>
                </c:pt>
                <c:pt idx="9">
                  <c:v>0.19652518143831096</c:v>
                </c:pt>
                <c:pt idx="10">
                  <c:v>0.16079629904875148</c:v>
                </c:pt>
                <c:pt idx="11">
                  <c:v>0.1426576422206991</c:v>
                </c:pt>
                <c:pt idx="12">
                  <c:v>0.14190283185383273</c:v>
                </c:pt>
                <c:pt idx="13">
                  <c:v>0.12507841980579978</c:v>
                </c:pt>
                <c:pt idx="14">
                  <c:v>0.1547943381994054</c:v>
                </c:pt>
                <c:pt idx="15">
                  <c:v>0.16591827532807912</c:v>
                </c:pt>
                <c:pt idx="16">
                  <c:v>0.14248611164817035</c:v>
                </c:pt>
                <c:pt idx="17">
                  <c:v>0.17270658875173</c:v>
                </c:pt>
                <c:pt idx="18">
                  <c:v>0.13526788214233457</c:v>
                </c:pt>
                <c:pt idx="19">
                  <c:v>0.14877744231987775</c:v>
                </c:pt>
                <c:pt idx="20">
                  <c:v>0.13105417298267819</c:v>
                </c:pt>
                <c:pt idx="21">
                  <c:v>0.13948992722161302</c:v>
                </c:pt>
                <c:pt idx="22">
                  <c:v>0.17945306816731235</c:v>
                </c:pt>
                <c:pt idx="23">
                  <c:v>0.15750675510719206</c:v>
                </c:pt>
                <c:pt idx="24">
                  <c:v>0.17713263986183123</c:v>
                </c:pt>
                <c:pt idx="25">
                  <c:v>0.1719977480026583</c:v>
                </c:pt>
                <c:pt idx="26">
                  <c:v>0.16430690184861485</c:v>
                </c:pt>
                <c:pt idx="27">
                  <c:v>0.15164661308306174</c:v>
                </c:pt>
                <c:pt idx="28">
                  <c:v>0.11020325750437475</c:v>
                </c:pt>
                <c:pt idx="29">
                  <c:v>0.16405295080833007</c:v>
                </c:pt>
                <c:pt idx="30">
                  <c:v>0.13785064355570276</c:v>
                </c:pt>
                <c:pt idx="31">
                  <c:v>0.15171283830589538</c:v>
                </c:pt>
                <c:pt idx="32">
                  <c:v>0.1692782605777942</c:v>
                </c:pt>
                <c:pt idx="33">
                  <c:v>0.14440597173293998</c:v>
                </c:pt>
                <c:pt idx="34">
                  <c:v>0.14059057483762052</c:v>
                </c:pt>
                <c:pt idx="35">
                  <c:v>0.13332501171358432</c:v>
                </c:pt>
                <c:pt idx="36">
                  <c:v>0.18329919488408813</c:v>
                </c:pt>
                <c:pt idx="37">
                  <c:v>0.1027049053434381</c:v>
                </c:pt>
                <c:pt idx="38">
                  <c:v>0.2183121803955394</c:v>
                </c:pt>
                <c:pt idx="39">
                  <c:v>0.17125747618696005</c:v>
                </c:pt>
                <c:pt idx="40">
                  <c:v>0.14476755503416863</c:v>
                </c:pt>
                <c:pt idx="41">
                  <c:v>0.14952851698492609</c:v>
                </c:pt>
                <c:pt idx="42">
                  <c:v>0.13769553810758037</c:v>
                </c:pt>
                <c:pt idx="43">
                  <c:v>0.1257977898568467</c:v>
                </c:pt>
                <c:pt idx="44">
                  <c:v>0.17708698040165735</c:v>
                </c:pt>
                <c:pt idx="45">
                  <c:v>0.18809597570925063</c:v>
                </c:pt>
                <c:pt idx="46">
                  <c:v>0.17794563352766515</c:v>
                </c:pt>
                <c:pt idx="47">
                  <c:v>0.17099886000759995</c:v>
                </c:pt>
                <c:pt idx="48">
                  <c:v>0.14674169227826997</c:v>
                </c:pt>
                <c:pt idx="49">
                  <c:v>0.1438746871123684</c:v>
                </c:pt>
                <c:pt idx="50">
                  <c:v>0.1292880555810404</c:v>
                </c:pt>
                <c:pt idx="51">
                  <c:v>0.14910559606784576</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575772582236125</c:v>
                </c:pt>
              </c:numCache>
            </c:numRef>
          </c:xVal>
          <c:yVal>
            <c:numRef>
              <c:f>Sheet1!$B$102:$B$103</c:f>
              <c:numCache>
                <c:formatCode>General</c:formatCode>
                <c:ptCount val="2"/>
                <c:pt idx="0">
                  <c:v>0.15478341206585994</c:v>
                </c:pt>
                <c:pt idx="1">
                  <c:v>0.15478341206585994</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575772582236125</c:v>
                </c:pt>
                <c:pt idx="1">
                  <c:v>2.5575772582236125</c:v>
                </c:pt>
              </c:numCache>
            </c:numRef>
          </c:xVal>
          <c:yVal>
            <c:numRef>
              <c:f>Sheet1!$B$106:$B$107</c:f>
              <c:numCache>
                <c:formatCode>General</c:formatCode>
                <c:ptCount val="2"/>
                <c:pt idx="0">
                  <c:v>0.1547834120658599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5575772582236125</c:v>
                </c:pt>
              </c:numCache>
            </c:numRef>
          </c:xVal>
          <c:yVal>
            <c:numRef>
              <c:f>Sheet1!$B$110:$B$111</c:f>
              <c:numCache>
                <c:formatCode>General</c:formatCode>
                <c:ptCount val="2"/>
                <c:pt idx="0">
                  <c:v>0.15478341206585994</c:v>
                </c:pt>
                <c:pt idx="1">
                  <c:v>0.15478341206585994</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5575772582236125</c:v>
                </c:pt>
                <c:pt idx="1">
                  <c:v>2.5575772582236125</c:v>
                </c:pt>
              </c:numCache>
            </c:numRef>
          </c:xVal>
          <c:yVal>
            <c:numRef>
              <c:f>Sheet1!$B$114:$B$115</c:f>
              <c:numCache>
                <c:formatCode>General</c:formatCode>
                <c:ptCount val="2"/>
                <c:pt idx="0">
                  <c:v>0.154783412065859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557577258223612</c:v>
                </c:pt>
              </c:numCache>
            </c:numRef>
          </c:xVal>
          <c:yVal>
            <c:numRef>
              <c:f>Sheet1!$B$118:$B$119</c:f>
              <c:numCache>
                <c:formatCode>General</c:formatCode>
                <c:ptCount val="2"/>
                <c:pt idx="0">
                  <c:v>0.15478341206585997</c:v>
                </c:pt>
                <c:pt idx="1">
                  <c:v>0.15478341206585997</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557577258223612</c:v>
                </c:pt>
                <c:pt idx="1">
                  <c:v>2.557577258223612</c:v>
                </c:pt>
              </c:numCache>
            </c:numRef>
          </c:xVal>
          <c:yVal>
            <c:numRef>
              <c:f>Sheet1!$B$122:$B$123</c:f>
              <c:numCache>
                <c:formatCode>General</c:formatCode>
                <c:ptCount val="2"/>
                <c:pt idx="0">
                  <c:v>0.1547834120658599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pt idx="52">
                  <c:v>2.5575772582236125</c:v>
                </c:pt>
                <c:pt idx="53">
                  <c:v>2.5575772582236125</c:v>
                </c:pt>
                <c:pt idx="54">
                  <c:v>2.557577258223612</c:v>
                </c:pt>
              </c:numCache>
            </c:numRef>
          </c:xVal>
          <c:yVal>
            <c:numRef>
              <c:f>Sheet1!$B$126:$B$180</c:f>
              <c:numCache>
                <c:formatCode>General</c:formatCode>
                <c:ptCount val="55"/>
                <c:pt idx="0">
                  <c:v>0.14481375124863888</c:v>
                </c:pt>
                <c:pt idx="1">
                  <c:v>0.14253460565118076</c:v>
                </c:pt>
                <c:pt idx="2">
                  <c:v>0.14239362757298746</c:v>
                </c:pt>
                <c:pt idx="3">
                  <c:v>0.14219390862888032</c:v>
                </c:pt>
                <c:pt idx="4">
                  <c:v>0.14256397608413768</c:v>
                </c:pt>
                <c:pt idx="5">
                  <c:v>0.141976567424999</c:v>
                </c:pt>
                <c:pt idx="6">
                  <c:v>0.14283418406734147</c:v>
                </c:pt>
                <c:pt idx="7">
                  <c:v>0.14278131728801902</c:v>
                </c:pt>
                <c:pt idx="8">
                  <c:v>0.1551521436494799</c:v>
                </c:pt>
                <c:pt idx="9">
                  <c:v>0.17044239104686013</c:v>
                </c:pt>
                <c:pt idx="10">
                  <c:v>0.17104742196577297</c:v>
                </c:pt>
                <c:pt idx="11">
                  <c:v>0.15652080582527306</c:v>
                </c:pt>
                <c:pt idx="12">
                  <c:v>0.1421116714166009</c:v>
                </c:pt>
                <c:pt idx="13">
                  <c:v>0.1424347461791272</c:v>
                </c:pt>
                <c:pt idx="14">
                  <c:v>0.15682625832802516</c:v>
                </c:pt>
                <c:pt idx="15">
                  <c:v>0.17055399869209648</c:v>
                </c:pt>
                <c:pt idx="16">
                  <c:v>0.1708007103289347</c:v>
                </c:pt>
                <c:pt idx="17">
                  <c:v>0.16188384688320934</c:v>
                </c:pt>
                <c:pt idx="18">
                  <c:v>0.14230551627411667</c:v>
                </c:pt>
                <c:pt idx="19">
                  <c:v>0.14222327906183724</c:v>
                </c:pt>
                <c:pt idx="20">
                  <c:v>0.1427284505086965</c:v>
                </c:pt>
                <c:pt idx="21">
                  <c:v>0.1420705528104612</c:v>
                </c:pt>
                <c:pt idx="22">
                  <c:v>0.14346271133261987</c:v>
                </c:pt>
                <c:pt idx="23">
                  <c:v>0.159510715900289</c:v>
                </c:pt>
                <c:pt idx="24">
                  <c:v>0.17085945119484858</c:v>
                </c:pt>
                <c:pt idx="25">
                  <c:v>0.17082420667530027</c:v>
                </c:pt>
                <c:pt idx="26">
                  <c:v>0.16417474065385024</c:v>
                </c:pt>
                <c:pt idx="27">
                  <c:v>0.14950127234856567</c:v>
                </c:pt>
                <c:pt idx="28">
                  <c:v>0.1498008507647264</c:v>
                </c:pt>
                <c:pt idx="29">
                  <c:v>0.14712226727905395</c:v>
                </c:pt>
                <c:pt idx="30">
                  <c:v>0.14720450449133338</c:v>
                </c:pt>
                <c:pt idx="31">
                  <c:v>0.147457090214763</c:v>
                </c:pt>
                <c:pt idx="32">
                  <c:v>0.14673457756402242</c:v>
                </c:pt>
                <c:pt idx="33">
                  <c:v>0.14728086761702142</c:v>
                </c:pt>
                <c:pt idx="34">
                  <c:v>0.14695191876790373</c:v>
                </c:pt>
                <c:pt idx="35">
                  <c:v>0.14731023804997834</c:v>
                </c:pt>
                <c:pt idx="36">
                  <c:v>0.1475921942063649</c:v>
                </c:pt>
                <c:pt idx="37">
                  <c:v>0.14657597722605498</c:v>
                </c:pt>
                <c:pt idx="38">
                  <c:v>0.16555515100282617</c:v>
                </c:pt>
                <c:pt idx="39">
                  <c:v>0.17423705098489609</c:v>
                </c:pt>
                <c:pt idx="40">
                  <c:v>0.1750418008479161</c:v>
                </c:pt>
                <c:pt idx="41">
                  <c:v>0.16264747814008962</c:v>
                </c:pt>
                <c:pt idx="42">
                  <c:v>0.14725149718406447</c:v>
                </c:pt>
                <c:pt idx="43">
                  <c:v>0.1462000356842062</c:v>
                </c:pt>
                <c:pt idx="44">
                  <c:v>0.16142566812908116</c:v>
                </c:pt>
                <c:pt idx="45">
                  <c:v>0.17477746695130367</c:v>
                </c:pt>
                <c:pt idx="46">
                  <c:v>0.17478921512448645</c:v>
                </c:pt>
                <c:pt idx="47">
                  <c:v>0.15986316109577223</c:v>
                </c:pt>
                <c:pt idx="48">
                  <c:v>0.14712226727905395</c:v>
                </c:pt>
                <c:pt idx="49">
                  <c:v>0.14661709583219468</c:v>
                </c:pt>
                <c:pt idx="50">
                  <c:v>0.1469695410276779</c:v>
                </c:pt>
                <c:pt idx="51">
                  <c:v>0.14705765232654872</c:v>
                </c:pt>
                <c:pt idx="52">
                  <c:v>0.15478341206585994</c:v>
                </c:pt>
                <c:pt idx="53">
                  <c:v>0.15478341206585994</c:v>
                </c:pt>
                <c:pt idx="54">
                  <c:v>0.1547834120658599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6197461647464726"/>
          <c:min val="0.0821639242747504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911645346272607</c:v>
                </c:pt>
                <c:pt idx="1">
                  <c:v>0.911645346272607</c:v>
                </c:pt>
                <c:pt idx="2">
                  <c:v>0.8579683295840501</c:v>
                </c:pt>
                <c:pt idx="3">
                  <c:v>0.8202029113365682</c:v>
                </c:pt>
                <c:pt idx="4">
                  <c:v>0.8202029113365682</c:v>
                </c:pt>
                <c:pt idx="5">
                  <c:v>0.8202029113365682</c:v>
                </c:pt>
                <c:pt idx="6">
                  <c:v>0.836090159234264</c:v>
                </c:pt>
                <c:pt idx="7">
                  <c:v>0.911645346272607</c:v>
                </c:pt>
                <c:pt idx="8">
                  <c:v>0.9116051343125579</c:v>
                </c:pt>
                <c:pt idx="9">
                  <c:v>0.9116051343125579</c:v>
                </c:pt>
                <c:pt idx="10">
                  <c:v>0.9116051343125579</c:v>
                </c:pt>
                <c:pt idx="11">
                  <c:v>0.9112483458314954</c:v>
                </c:pt>
                <c:pt idx="12">
                  <c:v>0.9116051343125579</c:v>
                </c:pt>
                <c:pt idx="13">
                  <c:v>0.8425231583590649</c:v>
                </c:pt>
                <c:pt idx="14">
                  <c:v>0.8206440229378034</c:v>
                </c:pt>
                <c:pt idx="15">
                  <c:v>0.8206078249746371</c:v>
                </c:pt>
                <c:pt idx="16">
                  <c:v>0.8206440229378034</c:v>
                </c:pt>
                <c:pt idx="17">
                  <c:v>0.892148213498015</c:v>
                </c:pt>
                <c:pt idx="18">
                  <c:v>0.911645346272607</c:v>
                </c:pt>
                <c:pt idx="19">
                  <c:v>0.8528957699263375</c:v>
                </c:pt>
                <c:pt idx="20">
                  <c:v>0.8206440229378034</c:v>
                </c:pt>
                <c:pt idx="21">
                  <c:v>0.8215341184773499</c:v>
                </c:pt>
                <c:pt idx="22">
                  <c:v>0.8801058667842965</c:v>
                </c:pt>
                <c:pt idx="23">
                  <c:v>0.9116051343125579</c:v>
                </c:pt>
                <c:pt idx="24">
                  <c:v>0.8587560652845171</c:v>
                </c:pt>
                <c:pt idx="25">
                  <c:v>0.8206440229378034</c:v>
                </c:pt>
                <c:pt idx="26">
                  <c:v>0.9457873842082046</c:v>
                </c:pt>
                <c:pt idx="27">
                  <c:v>0.9571239523599471</c:v>
                </c:pt>
                <c:pt idx="28">
                  <c:v>0.9164975738861932</c:v>
                </c:pt>
                <c:pt idx="29">
                  <c:v>0.9424349360388178</c:v>
                </c:pt>
                <c:pt idx="30">
                  <c:v>0.9210851345390384</c:v>
                </c:pt>
                <c:pt idx="31">
                  <c:v>0.9154426359666534</c:v>
                </c:pt>
                <c:pt idx="32">
                  <c:v>0.8749448610498457</c:v>
                </c:pt>
                <c:pt idx="33">
                  <c:v>0.8832429094437828</c:v>
                </c:pt>
                <c:pt idx="34">
                  <c:v>0.9315394794883106</c:v>
                </c:pt>
                <c:pt idx="35">
                  <c:v>0.9728275253639171</c:v>
                </c:pt>
                <c:pt idx="36">
                  <c:v>0.9664314071460081</c:v>
                </c:pt>
                <c:pt idx="37">
                  <c:v>0.9365240405822673</c:v>
                </c:pt>
                <c:pt idx="38">
                  <c:v>0.9026907807675343</c:v>
                </c:pt>
                <c:pt idx="39">
                  <c:v>0.8667842964269961</c:v>
                </c:pt>
                <c:pt idx="40">
                  <c:v>0.8784296426996031</c:v>
                </c:pt>
                <c:pt idx="41">
                  <c:v>0.9956329951477724</c:v>
                </c:pt>
                <c:pt idx="42">
                  <c:v>0.9833708261655859</c:v>
                </c:pt>
                <c:pt idx="43">
                  <c:v>0.974416655639363</c:v>
                </c:pt>
              </c:numCache>
            </c:numRef>
          </c:xVal>
          <c:yVal>
            <c:numRef>
              <c:f>Sheet1!$B$2:$B$45</c:f>
              <c:numCache>
                <c:formatCode>General</c:formatCode>
                <c:ptCount val="44"/>
                <c:pt idx="0">
                  <c:v>0.1950839583231211</c:v>
                </c:pt>
                <c:pt idx="1">
                  <c:v>0.21821681358653952</c:v>
                </c:pt>
                <c:pt idx="2">
                  <c:v>0.23640843716687346</c:v>
                </c:pt>
                <c:pt idx="3">
                  <c:v>0.2562066035276394</c:v>
                </c:pt>
                <c:pt idx="4">
                  <c:v>0.23050818936504375</c:v>
                </c:pt>
                <c:pt idx="5">
                  <c:v>0.2448118895644323</c:v>
                </c:pt>
                <c:pt idx="6">
                  <c:v>0.2626078653646759</c:v>
                </c:pt>
                <c:pt idx="7">
                  <c:v>0.21084815341861557</c:v>
                </c:pt>
                <c:pt idx="8">
                  <c:v>0.2363878009812377</c:v>
                </c:pt>
                <c:pt idx="9">
                  <c:v>0.21650059161182442</c:v>
                </c:pt>
                <c:pt idx="10">
                  <c:v>0.2267201531287544</c:v>
                </c:pt>
                <c:pt idx="11">
                  <c:v>0.22396491170886335</c:v>
                </c:pt>
                <c:pt idx="12">
                  <c:v>0.22857119783243793</c:v>
                </c:pt>
                <c:pt idx="13">
                  <c:v>0.25700733074601123</c:v>
                </c:pt>
                <c:pt idx="14">
                  <c:v>0.2360845414019446</c:v>
                </c:pt>
                <c:pt idx="15">
                  <c:v>0.21891280863338197</c:v>
                </c:pt>
                <c:pt idx="16">
                  <c:v>0.23328170332157083</c:v>
                </c:pt>
                <c:pt idx="17">
                  <c:v>0.2521804025529924</c:v>
                </c:pt>
                <c:pt idx="18">
                  <c:v>0.22388309493950934</c:v>
                </c:pt>
                <c:pt idx="19">
                  <c:v>0.26405931676111793</c:v>
                </c:pt>
                <c:pt idx="20">
                  <c:v>0.20206012509387236</c:v>
                </c:pt>
                <c:pt idx="21">
                  <c:v>0.24744325417038074</c:v>
                </c:pt>
                <c:pt idx="22">
                  <c:v>0.23384641462444666</c:v>
                </c:pt>
                <c:pt idx="23">
                  <c:v>0.21885298205435266</c:v>
                </c:pt>
                <c:pt idx="24">
                  <c:v>0.24673396232963307</c:v>
                </c:pt>
                <c:pt idx="25">
                  <c:v>0.23379970954347618</c:v>
                </c:pt>
                <c:pt idx="26">
                  <c:v>0.28992621623242887</c:v>
                </c:pt>
                <c:pt idx="27">
                  <c:v>0.2712830036651633</c:v>
                </c:pt>
                <c:pt idx="28">
                  <c:v>0.25568682242165774</c:v>
                </c:pt>
                <c:pt idx="29">
                  <c:v>0.2354138298658391</c:v>
                </c:pt>
                <c:pt idx="30">
                  <c:v>0.24415493291613333</c:v>
                </c:pt>
                <c:pt idx="31">
                  <c:v>0.2348369998332005</c:v>
                </c:pt>
                <c:pt idx="32">
                  <c:v>0.25907689098791736</c:v>
                </c:pt>
                <c:pt idx="33">
                  <c:v>0.26098802117825487</c:v>
                </c:pt>
                <c:pt idx="34">
                  <c:v>0.251127476067968</c:v>
                </c:pt>
                <c:pt idx="35">
                  <c:v>0.23497367116948495</c:v>
                </c:pt>
                <c:pt idx="36">
                  <c:v>0.20938293927534585</c:v>
                </c:pt>
                <c:pt idx="37">
                  <c:v>0.2956249092653771</c:v>
                </c:pt>
                <c:pt idx="38">
                  <c:v>0.2601829391550435</c:v>
                </c:pt>
                <c:pt idx="39">
                  <c:v>0.28869154401921804</c:v>
                </c:pt>
                <c:pt idx="40">
                  <c:v>0.2641519401401829</c:v>
                </c:pt>
                <c:pt idx="41">
                  <c:v>0.2645068359046849</c:v>
                </c:pt>
                <c:pt idx="42">
                  <c:v>0.22194166194166196</c:v>
                </c:pt>
                <c:pt idx="43">
                  <c:v>0.22720175726006514</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9755624172915747</c:v>
                </c:pt>
                <c:pt idx="1">
                  <c:v>0.9795324217026908</c:v>
                </c:pt>
                <c:pt idx="2">
                  <c:v>1.0003528737153191</c:v>
                </c:pt>
                <c:pt idx="3">
                  <c:v>0.9921482134980151</c:v>
                </c:pt>
                <c:pt idx="4">
                  <c:v>0.9941332157035729</c:v>
                </c:pt>
                <c:pt idx="5">
                  <c:v>1.00163211292457</c:v>
                </c:pt>
                <c:pt idx="6">
                  <c:v>0.9932509925011028</c:v>
                </c:pt>
                <c:pt idx="7">
                  <c:v>1.0221428256362752</c:v>
                </c:pt>
                <c:pt idx="8">
                  <c:v>1.0220555800617557</c:v>
                </c:pt>
                <c:pt idx="9">
                  <c:v>0.9989413788540425</c:v>
                </c:pt>
                <c:pt idx="10">
                  <c:v>0.9973092192324658</c:v>
                </c:pt>
                <c:pt idx="11">
                  <c:v>0.9774150860167624</c:v>
                </c:pt>
                <c:pt idx="12">
                  <c:v>0.9297309219232466</c:v>
                </c:pt>
                <c:pt idx="13">
                  <c:v>1.0042785937982446</c:v>
                </c:pt>
                <c:pt idx="14">
                  <c:v>0.9993824437582709</c:v>
                </c:pt>
                <c:pt idx="15">
                  <c:v>1.0002205460720743</c:v>
                </c:pt>
                <c:pt idx="16">
                  <c:v>0.9932951036612262</c:v>
                </c:pt>
                <c:pt idx="17">
                  <c:v>0.9775484098628203</c:v>
                </c:pt>
                <c:pt idx="18">
                  <c:v>0.9417732686369651</c:v>
                </c:pt>
                <c:pt idx="19">
                  <c:v>0.9591089545655052</c:v>
                </c:pt>
                <c:pt idx="20">
                  <c:v>0.9804596180142031</c:v>
                </c:pt>
                <c:pt idx="21">
                  <c:v>0.9996029995588883</c:v>
                </c:pt>
                <c:pt idx="22">
                  <c:v>0.9972209969122188</c:v>
                </c:pt>
                <c:pt idx="23">
                  <c:v>0.9593295103661226</c:v>
                </c:pt>
                <c:pt idx="24">
                  <c:v>0.921393912659903</c:v>
                </c:pt>
                <c:pt idx="25">
                  <c:v>0.9352476732389395</c:v>
                </c:pt>
                <c:pt idx="26">
                  <c:v>0.9314512571680637</c:v>
                </c:pt>
                <c:pt idx="27">
                  <c:v>0.9186149095721218</c:v>
                </c:pt>
                <c:pt idx="28">
                  <c:v>0.9923246581385091</c:v>
                </c:pt>
                <c:pt idx="29">
                  <c:v>0.9885752095280106</c:v>
                </c:pt>
                <c:pt idx="30">
                  <c:v>0.9733568592853992</c:v>
                </c:pt>
                <c:pt idx="31">
                  <c:v>0.9685046316718131</c:v>
                </c:pt>
                <c:pt idx="32">
                  <c:v>0.9760928057871289</c:v>
                </c:pt>
                <c:pt idx="33">
                  <c:v>1.0262902514336127</c:v>
                </c:pt>
                <c:pt idx="34">
                  <c:v>0.9692117683384057</c:v>
                </c:pt>
                <c:pt idx="35">
                  <c:v>0.9424790471989414</c:v>
                </c:pt>
                <c:pt idx="36">
                  <c:v>0.9249261170658551</c:v>
                </c:pt>
                <c:pt idx="37">
                  <c:v>0.9177326863696514</c:v>
                </c:pt>
                <c:pt idx="38">
                  <c:v>0.974857747783512</c:v>
                </c:pt>
                <c:pt idx="39">
                  <c:v>0.9715041905602118</c:v>
                </c:pt>
                <c:pt idx="40">
                  <c:v>0.9125755370296855</c:v>
                </c:pt>
                <c:pt idx="41">
                  <c:v>0.882223202470225</c:v>
                </c:pt>
                <c:pt idx="42">
                  <c:v>0.8524922805469785</c:v>
                </c:pt>
                <c:pt idx="43">
                  <c:v>0.8552776675047418</c:v>
                </c:pt>
                <c:pt idx="44">
                  <c:v>0.8963433461250053</c:v>
                </c:pt>
                <c:pt idx="45">
                  <c:v>0.9250110277900309</c:v>
                </c:pt>
                <c:pt idx="46">
                  <c:v>0.8687309779012835</c:v>
                </c:pt>
                <c:pt idx="47">
                  <c:v>0.7890163211292457</c:v>
                </c:pt>
                <c:pt idx="48">
                  <c:v>0.8015085351329893</c:v>
                </c:pt>
                <c:pt idx="49">
                  <c:v>0.7894133215703574</c:v>
                </c:pt>
                <c:pt idx="50">
                  <c:v>0.9059550066166739</c:v>
                </c:pt>
                <c:pt idx="51">
                  <c:v>0.925363917071019</c:v>
                </c:pt>
              </c:numCache>
            </c:numRef>
          </c:xVal>
          <c:yVal>
            <c:numRef>
              <c:f>Sheet1!$B$48:$B$99</c:f>
              <c:numCache>
                <c:formatCode>General</c:formatCode>
                <c:ptCount val="52"/>
                <c:pt idx="0">
                  <c:v>0.25024363363288327</c:v>
                </c:pt>
                <c:pt idx="1">
                  <c:v>0.23290321020689433</c:v>
                </c:pt>
                <c:pt idx="2">
                  <c:v>0.18196442515250139</c:v>
                </c:pt>
                <c:pt idx="3">
                  <c:v>0.22658984417032682</c:v>
                </c:pt>
                <c:pt idx="4">
                  <c:v>0.26165146692273467</c:v>
                </c:pt>
                <c:pt idx="5">
                  <c:v>0.20947139702910958</c:v>
                </c:pt>
                <c:pt idx="6">
                  <c:v>0.24193199567463655</c:v>
                </c:pt>
                <c:pt idx="7">
                  <c:v>0.22002556962287395</c:v>
                </c:pt>
                <c:pt idx="8">
                  <c:v>0.2321297127923231</c:v>
                </c:pt>
                <c:pt idx="9">
                  <c:v>0.21085753920590075</c:v>
                </c:pt>
                <c:pt idx="10">
                  <c:v>0.22336132580261595</c:v>
                </c:pt>
                <c:pt idx="11">
                  <c:v>0.24700822481151474</c:v>
                </c:pt>
                <c:pt idx="12">
                  <c:v>0.227767583353984</c:v>
                </c:pt>
                <c:pt idx="13">
                  <c:v>0.2373357865857655</c:v>
                </c:pt>
                <c:pt idx="14">
                  <c:v>0.2368939965390247</c:v>
                </c:pt>
                <c:pt idx="15">
                  <c:v>0.2172119312549501</c:v>
                </c:pt>
                <c:pt idx="16">
                  <c:v>0.23353215266231003</c:v>
                </c:pt>
                <c:pt idx="17">
                  <c:v>0.2241318449343641</c:v>
                </c:pt>
                <c:pt idx="18">
                  <c:v>0.24069561384652347</c:v>
                </c:pt>
                <c:pt idx="19">
                  <c:v>0.23217227626821724</c:v>
                </c:pt>
                <c:pt idx="20">
                  <c:v>0.2358092098485629</c:v>
                </c:pt>
                <c:pt idx="21">
                  <c:v>0.22563825961884215</c:v>
                </c:pt>
                <c:pt idx="22">
                  <c:v>0.187347452895915</c:v>
                </c:pt>
                <c:pt idx="23">
                  <c:v>0.2463348629737368</c:v>
                </c:pt>
                <c:pt idx="24">
                  <c:v>0.23004238943094965</c:v>
                </c:pt>
                <c:pt idx="25">
                  <c:v>0.22004712942890392</c:v>
                </c:pt>
                <c:pt idx="26">
                  <c:v>0.2086498225541607</c:v>
                </c:pt>
                <c:pt idx="27">
                  <c:v>0.23385467281607436</c:v>
                </c:pt>
                <c:pt idx="28">
                  <c:v>0.24903306860501637</c:v>
                </c:pt>
                <c:pt idx="29">
                  <c:v>0.2328647863287286</c:v>
                </c:pt>
                <c:pt idx="30">
                  <c:v>0.2324602320296615</c:v>
                </c:pt>
                <c:pt idx="31">
                  <c:v>0.21641939389558523</c:v>
                </c:pt>
                <c:pt idx="32">
                  <c:v>0.20516630636417235</c:v>
                </c:pt>
                <c:pt idx="33">
                  <c:v>0.23202260400192118</c:v>
                </c:pt>
                <c:pt idx="34">
                  <c:v>0.23732200253703015</c:v>
                </c:pt>
                <c:pt idx="35">
                  <c:v>0.24465019347765918</c:v>
                </c:pt>
                <c:pt idx="36">
                  <c:v>0.1808678419404786</c:v>
                </c:pt>
                <c:pt idx="37">
                  <c:v>0.2619955549940478</c:v>
                </c:pt>
                <c:pt idx="38">
                  <c:v>0.16648388885466084</c:v>
                </c:pt>
                <c:pt idx="39">
                  <c:v>0.24174702798493686</c:v>
                </c:pt>
                <c:pt idx="40">
                  <c:v>0.22915471582403535</c:v>
                </c:pt>
                <c:pt idx="41">
                  <c:v>0.2136608289090786</c:v>
                </c:pt>
                <c:pt idx="42">
                  <c:v>0.23737210708035458</c:v>
                </c:pt>
                <c:pt idx="43">
                  <c:v>0.24872884122553582</c:v>
                </c:pt>
                <c:pt idx="44">
                  <c:v>0.22682040909113535</c:v>
                </c:pt>
                <c:pt idx="45">
                  <c:v>0.2043871273301748</c:v>
                </c:pt>
                <c:pt idx="46">
                  <c:v>0.23183100097354895</c:v>
                </c:pt>
                <c:pt idx="47">
                  <c:v>0.21714788568076213</c:v>
                </c:pt>
                <c:pt idx="48">
                  <c:v>0.23396300616025276</c:v>
                </c:pt>
                <c:pt idx="49">
                  <c:v>0.23342783197453595</c:v>
                </c:pt>
                <c:pt idx="50">
                  <c:v>0.24682644269664797</c:v>
                </c:pt>
                <c:pt idx="51">
                  <c:v>0.2121268280891181</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052678395675420396</c:v>
                </c:pt>
              </c:numCache>
            </c:numRef>
          </c:xVal>
          <c:yVal>
            <c:numRef>
              <c:f>Sheet1!$B$102:$B$103</c:f>
              <c:numCache>
                <c:formatCode>General</c:formatCode>
                <c:ptCount val="2"/>
                <c:pt idx="0">
                  <c:v>0.25174519893833885</c:v>
                </c:pt>
                <c:pt idx="1">
                  <c:v>0.2517451989383388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052678395675420396</c:v>
                </c:pt>
                <c:pt idx="1">
                  <c:v>0.052678395675420396</c:v>
                </c:pt>
              </c:numCache>
            </c:numRef>
          </c:xVal>
          <c:yVal>
            <c:numRef>
              <c:f>Sheet1!$B$106:$B$107</c:f>
              <c:numCache>
                <c:formatCode>General</c:formatCode>
                <c:ptCount val="2"/>
                <c:pt idx="0">
                  <c:v>0.251745198938338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8827293282359726</c:v>
                </c:pt>
              </c:numCache>
            </c:numRef>
          </c:xVal>
          <c:yVal>
            <c:numRef>
              <c:f>Sheet1!$B$110:$B$111</c:f>
              <c:numCache>
                <c:formatCode>General</c:formatCode>
                <c:ptCount val="2"/>
                <c:pt idx="0">
                  <c:v>0.22901492715539362</c:v>
                </c:pt>
                <c:pt idx="1">
                  <c:v>0.22901492715539362</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8827293282359726</c:v>
                </c:pt>
                <c:pt idx="1">
                  <c:v>0.8827293282359726</c:v>
                </c:pt>
              </c:numCache>
            </c:numRef>
          </c:xVal>
          <c:yVal>
            <c:numRef>
              <c:f>Sheet1!$B$114:$B$115</c:f>
              <c:numCache>
                <c:formatCode>General</c:formatCode>
                <c:ptCount val="2"/>
                <c:pt idx="0">
                  <c:v>0.2290149271553936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827293282359726</c:v>
                </c:pt>
              </c:numCache>
            </c:numRef>
          </c:xVal>
          <c:yVal>
            <c:numRef>
              <c:f>Sheet1!$B$118:$B$119</c:f>
              <c:numCache>
                <c:formatCode>General</c:formatCode>
                <c:ptCount val="2"/>
                <c:pt idx="0">
                  <c:v>0.22901492715539362</c:v>
                </c:pt>
                <c:pt idx="1">
                  <c:v>0.22901492715539362</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827293282359726</c:v>
                </c:pt>
                <c:pt idx="1">
                  <c:v>0.8827293282359726</c:v>
                </c:pt>
              </c:numCache>
            </c:numRef>
          </c:xVal>
          <c:yVal>
            <c:numRef>
              <c:f>Sheet1!$B$122:$B$123</c:f>
              <c:numCache>
                <c:formatCode>General</c:formatCode>
                <c:ptCount val="2"/>
                <c:pt idx="0">
                  <c:v>0.2290149271553936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9755624172915747</c:v>
                </c:pt>
                <c:pt idx="1">
                  <c:v>0.9795324217026908</c:v>
                </c:pt>
                <c:pt idx="2">
                  <c:v>1.0003528737153191</c:v>
                </c:pt>
                <c:pt idx="3">
                  <c:v>0.9921482134980151</c:v>
                </c:pt>
                <c:pt idx="4">
                  <c:v>0.9941332157035729</c:v>
                </c:pt>
                <c:pt idx="5">
                  <c:v>1.00163211292457</c:v>
                </c:pt>
                <c:pt idx="6">
                  <c:v>0.9932509925011028</c:v>
                </c:pt>
                <c:pt idx="7">
                  <c:v>1.0221428256362752</c:v>
                </c:pt>
                <c:pt idx="8">
                  <c:v>1.0220555800617557</c:v>
                </c:pt>
                <c:pt idx="9">
                  <c:v>0.9989413788540425</c:v>
                </c:pt>
                <c:pt idx="10">
                  <c:v>0.9973092192324658</c:v>
                </c:pt>
                <c:pt idx="11">
                  <c:v>0.9774150860167624</c:v>
                </c:pt>
                <c:pt idx="12">
                  <c:v>0.9297309219232466</c:v>
                </c:pt>
                <c:pt idx="13">
                  <c:v>1.0042785937982446</c:v>
                </c:pt>
                <c:pt idx="14">
                  <c:v>0.9993824437582709</c:v>
                </c:pt>
                <c:pt idx="15">
                  <c:v>1.0002205460720743</c:v>
                </c:pt>
                <c:pt idx="16">
                  <c:v>0.9932951036612262</c:v>
                </c:pt>
                <c:pt idx="17">
                  <c:v>0.9775484098628203</c:v>
                </c:pt>
                <c:pt idx="18">
                  <c:v>0.9417732686369651</c:v>
                </c:pt>
                <c:pt idx="19">
                  <c:v>0.9591089545655052</c:v>
                </c:pt>
                <c:pt idx="20">
                  <c:v>0.9804596180142031</c:v>
                </c:pt>
                <c:pt idx="21">
                  <c:v>0.9996029995588883</c:v>
                </c:pt>
                <c:pt idx="22">
                  <c:v>0.9972209969122188</c:v>
                </c:pt>
                <c:pt idx="23">
                  <c:v>0.9593295103661226</c:v>
                </c:pt>
                <c:pt idx="24">
                  <c:v>0.921393912659903</c:v>
                </c:pt>
                <c:pt idx="25">
                  <c:v>0.9352476732389395</c:v>
                </c:pt>
                <c:pt idx="26">
                  <c:v>0.9314512571680637</c:v>
                </c:pt>
                <c:pt idx="27">
                  <c:v>0.9186149095721218</c:v>
                </c:pt>
                <c:pt idx="28">
                  <c:v>0.9923246581385091</c:v>
                </c:pt>
                <c:pt idx="29">
                  <c:v>0.9885752095280106</c:v>
                </c:pt>
                <c:pt idx="30">
                  <c:v>0.9733568592853992</c:v>
                </c:pt>
                <c:pt idx="31">
                  <c:v>0.9685046316718131</c:v>
                </c:pt>
                <c:pt idx="32">
                  <c:v>0.9760928057871289</c:v>
                </c:pt>
                <c:pt idx="33">
                  <c:v>1.0262902514336127</c:v>
                </c:pt>
                <c:pt idx="34">
                  <c:v>0.9692117683384057</c:v>
                </c:pt>
                <c:pt idx="35">
                  <c:v>0.9424790471989414</c:v>
                </c:pt>
                <c:pt idx="36">
                  <c:v>0.9249261170658551</c:v>
                </c:pt>
                <c:pt idx="37">
                  <c:v>0.9177326863696514</c:v>
                </c:pt>
                <c:pt idx="38">
                  <c:v>0.974857747783512</c:v>
                </c:pt>
                <c:pt idx="39">
                  <c:v>0.9715041905602118</c:v>
                </c:pt>
                <c:pt idx="40">
                  <c:v>0.9125755370296855</c:v>
                </c:pt>
                <c:pt idx="41">
                  <c:v>0.882223202470225</c:v>
                </c:pt>
                <c:pt idx="42">
                  <c:v>0.8524922805469785</c:v>
                </c:pt>
                <c:pt idx="43">
                  <c:v>0.8552776675047418</c:v>
                </c:pt>
                <c:pt idx="44">
                  <c:v>0.8963433461250053</c:v>
                </c:pt>
                <c:pt idx="45">
                  <c:v>0.9250110277900309</c:v>
                </c:pt>
                <c:pt idx="46">
                  <c:v>0.8687309779012835</c:v>
                </c:pt>
                <c:pt idx="47">
                  <c:v>0.7890163211292457</c:v>
                </c:pt>
                <c:pt idx="48">
                  <c:v>0.8015085351329893</c:v>
                </c:pt>
                <c:pt idx="49">
                  <c:v>0.7894133215703574</c:v>
                </c:pt>
                <c:pt idx="50">
                  <c:v>0.9059550066166739</c:v>
                </c:pt>
                <c:pt idx="51">
                  <c:v>0.925363917071019</c:v>
                </c:pt>
                <c:pt idx="52">
                  <c:v>0.8827293282359726</c:v>
                </c:pt>
                <c:pt idx="53">
                  <c:v>0.052678395675420396</c:v>
                </c:pt>
                <c:pt idx="54">
                  <c:v>0.8827293282359726</c:v>
                </c:pt>
              </c:numCache>
            </c:numRef>
          </c:xVal>
          <c:yVal>
            <c:numRef>
              <c:f>Sheet1!$B$126:$B$180</c:f>
              <c:numCache>
                <c:formatCode>General</c:formatCode>
                <c:ptCount val="55"/>
                <c:pt idx="0">
                  <c:v>0.22647276828066668</c:v>
                </c:pt>
                <c:pt idx="1">
                  <c:v>0.22636405292874748</c:v>
                </c:pt>
                <c:pt idx="2">
                  <c:v>0.22579390173160238</c:v>
                </c:pt>
                <c:pt idx="3">
                  <c:v>0.22601857969931544</c:v>
                </c:pt>
                <c:pt idx="4">
                  <c:v>0.22596422202335587</c:v>
                </c:pt>
                <c:pt idx="5">
                  <c:v>0.2257588708030641</c:v>
                </c:pt>
                <c:pt idx="6">
                  <c:v>0.22598838099044902</c:v>
                </c:pt>
                <c:pt idx="7">
                  <c:v>0.22519720156553816</c:v>
                </c:pt>
                <c:pt idx="8">
                  <c:v>0.22519959071485768</c:v>
                </c:pt>
                <c:pt idx="9">
                  <c:v>0.22583255437393854</c:v>
                </c:pt>
                <c:pt idx="10">
                  <c:v>0.22587724974182052</c:v>
                </c:pt>
                <c:pt idx="11">
                  <c:v>0.22642203444977105</c:v>
                </c:pt>
                <c:pt idx="12">
                  <c:v>0.2277278266211558</c:v>
                </c:pt>
                <c:pt idx="13">
                  <c:v>0.225686399070105</c:v>
                </c:pt>
                <c:pt idx="14">
                  <c:v>0.22582047616915163</c:v>
                </c:pt>
                <c:pt idx="15">
                  <c:v>0.2257975254168214</c:v>
                </c:pt>
                <c:pt idx="16">
                  <c:v>0.22598717304209437</c:v>
                </c:pt>
                <c:pt idx="17">
                  <c:v>0.2264183834843457</c:v>
                </c:pt>
                <c:pt idx="18">
                  <c:v>0.2273980567203343</c:v>
                </c:pt>
                <c:pt idx="19">
                  <c:v>0.2269233330169539</c:v>
                </c:pt>
                <c:pt idx="20">
                  <c:v>0.2263386624095274</c:v>
                </c:pt>
                <c:pt idx="21">
                  <c:v>0.22581443642737833</c:v>
                </c:pt>
                <c:pt idx="22">
                  <c:v>0.22587966563852985</c:v>
                </c:pt>
                <c:pt idx="23">
                  <c:v>0.22691729327518062</c:v>
                </c:pt>
                <c:pt idx="24">
                  <c:v>0.22795612886018604</c:v>
                </c:pt>
                <c:pt idx="25">
                  <c:v>0.22757675485935702</c:v>
                </c:pt>
                <c:pt idx="26">
                  <c:v>0.22768071663532413</c:v>
                </c:pt>
                <c:pt idx="27">
                  <c:v>0.22803222960652947</c:v>
                </c:pt>
                <c:pt idx="28">
                  <c:v>0.22601374790589682</c:v>
                </c:pt>
                <c:pt idx="29">
                  <c:v>0.22611642351604272</c:v>
                </c:pt>
                <c:pt idx="30">
                  <c:v>0.22653316569839954</c:v>
                </c:pt>
                <c:pt idx="31">
                  <c:v>0.22666604001741186</c:v>
                </c:pt>
                <c:pt idx="32">
                  <c:v>0.22645824402175485</c:v>
                </c:pt>
                <c:pt idx="33">
                  <c:v>0.22508362767281057</c:v>
                </c:pt>
                <c:pt idx="34">
                  <c:v>0.22664667565314356</c:v>
                </c:pt>
                <c:pt idx="35">
                  <c:v>0.22737872954665977</c:v>
                </c:pt>
                <c:pt idx="36">
                  <c:v>0.22785940230644008</c:v>
                </c:pt>
                <c:pt idx="37">
                  <c:v>0.22805638857362262</c:v>
                </c:pt>
                <c:pt idx="38">
                  <c:v>0.226492065083799</c:v>
                </c:pt>
                <c:pt idx="39">
                  <c:v>0.22658389952929514</c:v>
                </c:pt>
                <c:pt idx="40">
                  <c:v>0.22819761292688134</c:v>
                </c:pt>
                <c:pt idx="41">
                  <c:v>0.22902878699912188</c:v>
                </c:pt>
                <c:pt idx="42">
                  <c:v>0.22984294419016105</c:v>
                </c:pt>
                <c:pt idx="43">
                  <c:v>0.2297666686267142</c:v>
                </c:pt>
                <c:pt idx="44">
                  <c:v>0.228642118313747</c:v>
                </c:pt>
                <c:pt idx="45">
                  <c:v>0.22785707709510414</c:v>
                </c:pt>
                <c:pt idx="46">
                  <c:v>0.22939826062944782</c:v>
                </c:pt>
                <c:pt idx="47">
                  <c:v>0.23158118187251314</c:v>
                </c:pt>
                <c:pt idx="48">
                  <c:v>0.2312390927207067</c:v>
                </c:pt>
                <c:pt idx="49">
                  <c:v>0.23157031033732123</c:v>
                </c:pt>
                <c:pt idx="50">
                  <c:v>0.22837891078431616</c:v>
                </c:pt>
                <c:pt idx="51">
                  <c:v>0.22784741350826687</c:v>
                </c:pt>
                <c:pt idx="52">
                  <c:v>0.22901492715539362</c:v>
                </c:pt>
                <c:pt idx="53">
                  <c:v>0.25174519893833885</c:v>
                </c:pt>
                <c:pt idx="54">
                  <c:v>0.2290149271553936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7498911184525"/>
          <c:min val="0.13318711108372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0667</c:v>
                </c:pt>
                <c:pt idx="1">
                  <c:v>2.0667</c:v>
                </c:pt>
                <c:pt idx="2">
                  <c:v>1.9451</c:v>
                </c:pt>
                <c:pt idx="3">
                  <c:v>1.8594</c:v>
                </c:pt>
                <c:pt idx="4">
                  <c:v>1.8594</c:v>
                </c:pt>
                <c:pt idx="5">
                  <c:v>1.8594</c:v>
                </c:pt>
                <c:pt idx="6">
                  <c:v>1.8955</c:v>
                </c:pt>
                <c:pt idx="7">
                  <c:v>2.0667</c:v>
                </c:pt>
                <c:pt idx="8">
                  <c:v>2.0667</c:v>
                </c:pt>
                <c:pt idx="9">
                  <c:v>2.0667</c:v>
                </c:pt>
                <c:pt idx="10">
                  <c:v>2.0667</c:v>
                </c:pt>
                <c:pt idx="11">
                  <c:v>2.0658</c:v>
                </c:pt>
                <c:pt idx="12">
                  <c:v>2.0667</c:v>
                </c:pt>
                <c:pt idx="13">
                  <c:v>1.91</c:v>
                </c:pt>
                <c:pt idx="14">
                  <c:v>1.8604</c:v>
                </c:pt>
                <c:pt idx="15">
                  <c:v>1.8604</c:v>
                </c:pt>
                <c:pt idx="16">
                  <c:v>1.8604</c:v>
                </c:pt>
                <c:pt idx="17">
                  <c:v>2.0225</c:v>
                </c:pt>
                <c:pt idx="18">
                  <c:v>2.0667</c:v>
                </c:pt>
                <c:pt idx="19">
                  <c:v>1.9336</c:v>
                </c:pt>
                <c:pt idx="20">
                  <c:v>1.8604</c:v>
                </c:pt>
                <c:pt idx="21">
                  <c:v>1.8625</c:v>
                </c:pt>
                <c:pt idx="22">
                  <c:v>1.9952</c:v>
                </c:pt>
                <c:pt idx="23">
                  <c:v>2.0667</c:v>
                </c:pt>
                <c:pt idx="24">
                  <c:v>1.9468</c:v>
                </c:pt>
                <c:pt idx="25">
                  <c:v>1.8604</c:v>
                </c:pt>
                <c:pt idx="26">
                  <c:v>2.1441</c:v>
                </c:pt>
                <c:pt idx="27">
                  <c:v>2.1698</c:v>
                </c:pt>
                <c:pt idx="28">
                  <c:v>2.0777</c:v>
                </c:pt>
                <c:pt idx="29">
                  <c:v>2.1365</c:v>
                </c:pt>
                <c:pt idx="30">
                  <c:v>2.0881</c:v>
                </c:pt>
                <c:pt idx="31">
                  <c:v>2.0754</c:v>
                </c:pt>
                <c:pt idx="32">
                  <c:v>1.9835</c:v>
                </c:pt>
                <c:pt idx="33">
                  <c:v>2.0024</c:v>
                </c:pt>
                <c:pt idx="34">
                  <c:v>2.1118</c:v>
                </c:pt>
                <c:pt idx="35">
                  <c:v>2.2054</c:v>
                </c:pt>
                <c:pt idx="36">
                  <c:v>2.1909</c:v>
                </c:pt>
                <c:pt idx="37">
                  <c:v>2.1231</c:v>
                </c:pt>
                <c:pt idx="38">
                  <c:v>2.0464</c:v>
                </c:pt>
                <c:pt idx="39">
                  <c:v>1.965</c:v>
                </c:pt>
                <c:pt idx="40">
                  <c:v>1.9914</c:v>
                </c:pt>
                <c:pt idx="41">
                  <c:v>2.2571</c:v>
                </c:pt>
                <c:pt idx="42">
                  <c:v>2.2294</c:v>
                </c:pt>
                <c:pt idx="43">
                  <c:v>2.2091</c:v>
                </c:pt>
              </c:numCache>
            </c:numRef>
          </c:xVal>
          <c:yVal>
            <c:numRef>
              <c:f>Sheet1!$B$2:$B$45</c:f>
              <c:numCache>
                <c:formatCode>General</c:formatCode>
                <c:ptCount val="44"/>
                <c:pt idx="0">
                  <c:v>0.1950839583231211</c:v>
                </c:pt>
                <c:pt idx="1">
                  <c:v>0.21821681358653952</c:v>
                </c:pt>
                <c:pt idx="2">
                  <c:v>0.23640843716687346</c:v>
                </c:pt>
                <c:pt idx="3">
                  <c:v>0.2562066035276394</c:v>
                </c:pt>
                <c:pt idx="4">
                  <c:v>0.23050818936504375</c:v>
                </c:pt>
                <c:pt idx="5">
                  <c:v>0.2448118895644323</c:v>
                </c:pt>
                <c:pt idx="6">
                  <c:v>0.2626078653646759</c:v>
                </c:pt>
                <c:pt idx="7">
                  <c:v>0.21084815341861557</c:v>
                </c:pt>
                <c:pt idx="8">
                  <c:v>0.2363878009812377</c:v>
                </c:pt>
                <c:pt idx="9">
                  <c:v>0.21650059161182442</c:v>
                </c:pt>
                <c:pt idx="10">
                  <c:v>0.2267201531287544</c:v>
                </c:pt>
                <c:pt idx="11">
                  <c:v>0.22396491170886335</c:v>
                </c:pt>
                <c:pt idx="12">
                  <c:v>0.22857119783243793</c:v>
                </c:pt>
                <c:pt idx="13">
                  <c:v>0.25700733074601123</c:v>
                </c:pt>
                <c:pt idx="14">
                  <c:v>0.2360845414019446</c:v>
                </c:pt>
                <c:pt idx="15">
                  <c:v>0.21891280863338197</c:v>
                </c:pt>
                <c:pt idx="16">
                  <c:v>0.23328170332157083</c:v>
                </c:pt>
                <c:pt idx="17">
                  <c:v>0.2521804025529924</c:v>
                </c:pt>
                <c:pt idx="18">
                  <c:v>0.22388309493950934</c:v>
                </c:pt>
                <c:pt idx="19">
                  <c:v>0.26405931676111793</c:v>
                </c:pt>
                <c:pt idx="20">
                  <c:v>0.20206012509387236</c:v>
                </c:pt>
                <c:pt idx="21">
                  <c:v>0.24744325417038074</c:v>
                </c:pt>
                <c:pt idx="22">
                  <c:v>0.23384641462444666</c:v>
                </c:pt>
                <c:pt idx="23">
                  <c:v>0.21885298205435266</c:v>
                </c:pt>
                <c:pt idx="24">
                  <c:v>0.24673396232963307</c:v>
                </c:pt>
                <c:pt idx="25">
                  <c:v>0.23379970954347618</c:v>
                </c:pt>
                <c:pt idx="26">
                  <c:v>0.28992621623242887</c:v>
                </c:pt>
                <c:pt idx="27">
                  <c:v>0.2712830036651633</c:v>
                </c:pt>
                <c:pt idx="28">
                  <c:v>0.25568682242165774</c:v>
                </c:pt>
                <c:pt idx="29">
                  <c:v>0.2354138298658391</c:v>
                </c:pt>
                <c:pt idx="30">
                  <c:v>0.24415493291613333</c:v>
                </c:pt>
                <c:pt idx="31">
                  <c:v>0.2348369998332005</c:v>
                </c:pt>
                <c:pt idx="32">
                  <c:v>0.25907689098791736</c:v>
                </c:pt>
                <c:pt idx="33">
                  <c:v>0.26098802117825487</c:v>
                </c:pt>
                <c:pt idx="34">
                  <c:v>0.251127476067968</c:v>
                </c:pt>
                <c:pt idx="35">
                  <c:v>0.23497367116948495</c:v>
                </c:pt>
                <c:pt idx="36">
                  <c:v>0.20938293927534585</c:v>
                </c:pt>
                <c:pt idx="37">
                  <c:v>0.2956249092653771</c:v>
                </c:pt>
                <c:pt idx="38">
                  <c:v>0.2601829391550435</c:v>
                </c:pt>
                <c:pt idx="39">
                  <c:v>0.28869154401921804</c:v>
                </c:pt>
                <c:pt idx="40">
                  <c:v>0.2641519401401829</c:v>
                </c:pt>
                <c:pt idx="41">
                  <c:v>0.2645068359046849</c:v>
                </c:pt>
                <c:pt idx="42">
                  <c:v>0.22194166194166196</c:v>
                </c:pt>
                <c:pt idx="43">
                  <c:v>0.22720175726006514</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numCache>
            </c:numRef>
          </c:xVal>
          <c:yVal>
            <c:numRef>
              <c:f>Sheet1!$B$48:$B$99</c:f>
              <c:numCache>
                <c:formatCode>General</c:formatCode>
                <c:ptCount val="52"/>
                <c:pt idx="0">
                  <c:v>0.25024363363288327</c:v>
                </c:pt>
                <c:pt idx="1">
                  <c:v>0.23290321020689433</c:v>
                </c:pt>
                <c:pt idx="2">
                  <c:v>0.18196442515250139</c:v>
                </c:pt>
                <c:pt idx="3">
                  <c:v>0.22658984417032682</c:v>
                </c:pt>
                <c:pt idx="4">
                  <c:v>0.26165146692273467</c:v>
                </c:pt>
                <c:pt idx="5">
                  <c:v>0.20947139702910958</c:v>
                </c:pt>
                <c:pt idx="6">
                  <c:v>0.24193199567463655</c:v>
                </c:pt>
                <c:pt idx="7">
                  <c:v>0.22002556962287395</c:v>
                </c:pt>
                <c:pt idx="8">
                  <c:v>0.2321297127923231</c:v>
                </c:pt>
                <c:pt idx="9">
                  <c:v>0.21085753920590075</c:v>
                </c:pt>
                <c:pt idx="10">
                  <c:v>0.22336132580261595</c:v>
                </c:pt>
                <c:pt idx="11">
                  <c:v>0.24700822481151474</c:v>
                </c:pt>
                <c:pt idx="12">
                  <c:v>0.227767583353984</c:v>
                </c:pt>
                <c:pt idx="13">
                  <c:v>0.2373357865857655</c:v>
                </c:pt>
                <c:pt idx="14">
                  <c:v>0.2368939965390247</c:v>
                </c:pt>
                <c:pt idx="15">
                  <c:v>0.2172119312549501</c:v>
                </c:pt>
                <c:pt idx="16">
                  <c:v>0.23353215266231003</c:v>
                </c:pt>
                <c:pt idx="17">
                  <c:v>0.2241318449343641</c:v>
                </c:pt>
                <c:pt idx="18">
                  <c:v>0.24069561384652347</c:v>
                </c:pt>
                <c:pt idx="19">
                  <c:v>0.23217227626821724</c:v>
                </c:pt>
                <c:pt idx="20">
                  <c:v>0.2358092098485629</c:v>
                </c:pt>
                <c:pt idx="21">
                  <c:v>0.22563825961884215</c:v>
                </c:pt>
                <c:pt idx="22">
                  <c:v>0.187347452895915</c:v>
                </c:pt>
                <c:pt idx="23">
                  <c:v>0.2463348629737368</c:v>
                </c:pt>
                <c:pt idx="24">
                  <c:v>0.23004238943094965</c:v>
                </c:pt>
                <c:pt idx="25">
                  <c:v>0.22004712942890392</c:v>
                </c:pt>
                <c:pt idx="26">
                  <c:v>0.2086498225541607</c:v>
                </c:pt>
                <c:pt idx="27">
                  <c:v>0.23385467281607436</c:v>
                </c:pt>
                <c:pt idx="28">
                  <c:v>0.24903306860501637</c:v>
                </c:pt>
                <c:pt idx="29">
                  <c:v>0.2328647863287286</c:v>
                </c:pt>
                <c:pt idx="30">
                  <c:v>0.2324602320296615</c:v>
                </c:pt>
                <c:pt idx="31">
                  <c:v>0.21641939389558523</c:v>
                </c:pt>
                <c:pt idx="32">
                  <c:v>0.20516630636417235</c:v>
                </c:pt>
                <c:pt idx="33">
                  <c:v>0.23202260400192118</c:v>
                </c:pt>
                <c:pt idx="34">
                  <c:v>0.23732200253703015</c:v>
                </c:pt>
                <c:pt idx="35">
                  <c:v>0.24465019347765918</c:v>
                </c:pt>
                <c:pt idx="36">
                  <c:v>0.1808678419404786</c:v>
                </c:pt>
                <c:pt idx="37">
                  <c:v>0.2619955549940478</c:v>
                </c:pt>
                <c:pt idx="38">
                  <c:v>0.16648388885466084</c:v>
                </c:pt>
                <c:pt idx="39">
                  <c:v>0.24174702798493686</c:v>
                </c:pt>
                <c:pt idx="40">
                  <c:v>0.22915471582403535</c:v>
                </c:pt>
                <c:pt idx="41">
                  <c:v>0.2136608289090786</c:v>
                </c:pt>
                <c:pt idx="42">
                  <c:v>0.23737210708035458</c:v>
                </c:pt>
                <c:pt idx="43">
                  <c:v>0.24872884122553582</c:v>
                </c:pt>
                <c:pt idx="44">
                  <c:v>0.22682040909113535</c:v>
                </c:pt>
                <c:pt idx="45">
                  <c:v>0.2043871273301748</c:v>
                </c:pt>
                <c:pt idx="46">
                  <c:v>0.23183100097354895</c:v>
                </c:pt>
                <c:pt idx="47">
                  <c:v>0.21714788568076213</c:v>
                </c:pt>
                <c:pt idx="48">
                  <c:v>0.23396300616025276</c:v>
                </c:pt>
                <c:pt idx="49">
                  <c:v>0.23342783197453595</c:v>
                </c:pt>
                <c:pt idx="50">
                  <c:v>0.24682644269664797</c:v>
                </c:pt>
                <c:pt idx="51">
                  <c:v>0.2121268280891181</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0.12237587307632539</c:v>
                </c:pt>
              </c:numCache>
            </c:numRef>
          </c:xVal>
          <c:yVal>
            <c:numRef>
              <c:f>Sheet1!$B$102:$B$103</c:f>
              <c:numCache>
                <c:formatCode>General</c:formatCode>
                <c:ptCount val="2"/>
                <c:pt idx="0">
                  <c:v>0.25174519893833885</c:v>
                </c:pt>
                <c:pt idx="1">
                  <c:v>0.2517451989383388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0.12237587307632539</c:v>
                </c:pt>
                <c:pt idx="1">
                  <c:v>0.12237587307632539</c:v>
                </c:pt>
              </c:numCache>
            </c:numRef>
          </c:xVal>
          <c:yVal>
            <c:numRef>
              <c:f>Sheet1!$B$106:$B$107</c:f>
              <c:numCache>
                <c:formatCode>General</c:formatCode>
                <c:ptCount val="2"/>
                <c:pt idx="0">
                  <c:v>0.251745198938338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0013993831057757</c:v>
                </c:pt>
              </c:numCache>
            </c:numRef>
          </c:xVal>
          <c:yVal>
            <c:numRef>
              <c:f>Sheet1!$B$110:$B$111</c:f>
              <c:numCache>
                <c:formatCode>General</c:formatCode>
                <c:ptCount val="2"/>
                <c:pt idx="0">
                  <c:v>0.22901492715539362</c:v>
                </c:pt>
                <c:pt idx="1">
                  <c:v>0.22901492715539362</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0013993831057757</c:v>
                </c:pt>
                <c:pt idx="1">
                  <c:v>2.0013993831057757</c:v>
                </c:pt>
              </c:numCache>
            </c:numRef>
          </c:xVal>
          <c:yVal>
            <c:numRef>
              <c:f>Sheet1!$B$114:$B$115</c:f>
              <c:numCache>
                <c:formatCode>General</c:formatCode>
                <c:ptCount val="2"/>
                <c:pt idx="0">
                  <c:v>0.2290149271553936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0013993831057757</c:v>
                </c:pt>
              </c:numCache>
            </c:numRef>
          </c:xVal>
          <c:yVal>
            <c:numRef>
              <c:f>Sheet1!$B$118:$B$119</c:f>
              <c:numCache>
                <c:formatCode>General</c:formatCode>
                <c:ptCount val="2"/>
                <c:pt idx="0">
                  <c:v>0.22901492715539362</c:v>
                </c:pt>
                <c:pt idx="1">
                  <c:v>0.22901492715539362</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0013993831057757</c:v>
                </c:pt>
                <c:pt idx="1">
                  <c:v>2.0013993831057757</c:v>
                </c:pt>
              </c:numCache>
            </c:numRef>
          </c:xVal>
          <c:yVal>
            <c:numRef>
              <c:f>Sheet1!$B$122:$B$123</c:f>
              <c:numCache>
                <c:formatCode>General</c:formatCode>
                <c:ptCount val="2"/>
                <c:pt idx="0">
                  <c:v>0.2290149271553936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pt idx="52">
                  <c:v>2.0013993831057757</c:v>
                </c:pt>
                <c:pt idx="53">
                  <c:v>0.12237587307632539</c:v>
                </c:pt>
                <c:pt idx="54">
                  <c:v>2.0013993831057757</c:v>
                </c:pt>
              </c:numCache>
            </c:numRef>
          </c:xVal>
          <c:yVal>
            <c:numRef>
              <c:f>Sheet1!$B$126:$B$180</c:f>
              <c:numCache>
                <c:formatCode>General</c:formatCode>
                <c:ptCount val="55"/>
                <c:pt idx="0">
                  <c:v>0.22647216112535412</c:v>
                </c:pt>
                <c:pt idx="1">
                  <c:v>0.22636328944548711</c:v>
                </c:pt>
                <c:pt idx="2">
                  <c:v>0.2257911082835194</c:v>
                </c:pt>
                <c:pt idx="3">
                  <c:v>0.2260173194405764</c:v>
                </c:pt>
                <c:pt idx="4">
                  <c:v>0.2259628836006429</c:v>
                </c:pt>
                <c:pt idx="5">
                  <c:v>0.22575723709422743</c:v>
                </c:pt>
                <c:pt idx="6">
                  <c:v>0.22598707730728002</c:v>
                </c:pt>
                <c:pt idx="7">
                  <c:v>0.2251935237295827</c:v>
                </c:pt>
                <c:pt idx="8">
                  <c:v>0.22519715278557828</c:v>
                </c:pt>
                <c:pt idx="9">
                  <c:v>0.22582981821413878</c:v>
                </c:pt>
                <c:pt idx="10">
                  <c:v>0.22587578625674928</c:v>
                </c:pt>
                <c:pt idx="11">
                  <c:v>0.2264213543414162</c:v>
                </c:pt>
                <c:pt idx="12">
                  <c:v>0.22772902418515212</c:v>
                </c:pt>
                <c:pt idx="13">
                  <c:v>0.22568344628898424</c:v>
                </c:pt>
                <c:pt idx="14">
                  <c:v>0.22581893104615208</c:v>
                </c:pt>
                <c:pt idx="15">
                  <c:v>0.22579473733951497</c:v>
                </c:pt>
                <c:pt idx="16">
                  <c:v>0.22598586762194817</c:v>
                </c:pt>
                <c:pt idx="17">
                  <c:v>0.22641651560008877</c:v>
                </c:pt>
                <c:pt idx="18">
                  <c:v>0.22739878008955555</c:v>
                </c:pt>
                <c:pt idx="19">
                  <c:v>0.22692337375413626</c:v>
                </c:pt>
                <c:pt idx="20">
                  <c:v>0.2263366763681863</c:v>
                </c:pt>
                <c:pt idx="21">
                  <c:v>0.2258128826194928</c:v>
                </c:pt>
                <c:pt idx="22">
                  <c:v>0.225878205627413</c:v>
                </c:pt>
                <c:pt idx="23">
                  <c:v>0.226917325327477</c:v>
                </c:pt>
                <c:pt idx="24">
                  <c:v>0.22795765471287285</c:v>
                </c:pt>
                <c:pt idx="25">
                  <c:v>0.22757660383333833</c:v>
                </c:pt>
                <c:pt idx="26">
                  <c:v>0.22768184645720976</c:v>
                </c:pt>
                <c:pt idx="27">
                  <c:v>0.22803386488877975</c:v>
                </c:pt>
                <c:pt idx="28">
                  <c:v>0.22601248069924898</c:v>
                </c:pt>
                <c:pt idx="29">
                  <c:v>0.22611530395245671</c:v>
                </c:pt>
                <c:pt idx="30">
                  <c:v>0.2265326453919469</c:v>
                </c:pt>
                <c:pt idx="31">
                  <c:v>0.22666571077845102</c:v>
                </c:pt>
                <c:pt idx="32">
                  <c:v>0.22645643521604</c:v>
                </c:pt>
                <c:pt idx="33">
                  <c:v>0.22508102299372013</c:v>
                </c:pt>
                <c:pt idx="34">
                  <c:v>0.22664514612780948</c:v>
                </c:pt>
                <c:pt idx="35">
                  <c:v>0.22737942512424586</c:v>
                </c:pt>
                <c:pt idx="36">
                  <c:v>0.22785967020099254</c:v>
                </c:pt>
                <c:pt idx="37">
                  <c:v>0.22805805859541686</c:v>
                </c:pt>
                <c:pt idx="38">
                  <c:v>0.22649030640533196</c:v>
                </c:pt>
                <c:pt idx="39">
                  <c:v>0.22658345217588485</c:v>
                </c:pt>
                <c:pt idx="40">
                  <c:v>0.22819838209391213</c:v>
                </c:pt>
                <c:pt idx="41">
                  <c:v>0.22903185528756065</c:v>
                </c:pt>
                <c:pt idx="42">
                  <c:v>0.22984718320123135</c:v>
                </c:pt>
                <c:pt idx="43">
                  <c:v>0.2297697633399926</c:v>
                </c:pt>
                <c:pt idx="44">
                  <c:v>0.228643546296035</c:v>
                </c:pt>
                <c:pt idx="45">
                  <c:v>0.2278584605156607</c:v>
                </c:pt>
                <c:pt idx="46">
                  <c:v>0.22940080931377663</c:v>
                </c:pt>
                <c:pt idx="47">
                  <c:v>0.23158792039377163</c:v>
                </c:pt>
                <c:pt idx="48">
                  <c:v>0.23124436975952462</c:v>
                </c:pt>
                <c:pt idx="49">
                  <c:v>0.23157703322578493</c:v>
                </c:pt>
                <c:pt idx="50">
                  <c:v>0.22838104457902234</c:v>
                </c:pt>
                <c:pt idx="51">
                  <c:v>0.22784878303300585</c:v>
                </c:pt>
                <c:pt idx="52">
                  <c:v>0.22901492715539362</c:v>
                </c:pt>
                <c:pt idx="53">
                  <c:v>0.25174519893833885</c:v>
                </c:pt>
                <c:pt idx="54">
                  <c:v>0.2290149271553936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547498911184525"/>
          <c:min val="0.13318711108372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4515659461843848</c:v>
                </c:pt>
                <c:pt idx="1">
                  <c:v>1.4486987207763564</c:v>
                </c:pt>
                <c:pt idx="2">
                  <c:v>1.4545895637598694</c:v>
                </c:pt>
                <c:pt idx="3">
                  <c:v>1.4513453903837672</c:v>
                </c:pt>
                <c:pt idx="4">
                  <c:v>1.4516982796647553</c:v>
                </c:pt>
                <c:pt idx="5">
                  <c:v>1.4501543890604325</c:v>
                </c:pt>
                <c:pt idx="6">
                  <c:v>1.4533545057562525</c:v>
                </c:pt>
                <c:pt idx="7">
                  <c:v>1.451610057344508</c:v>
                </c:pt>
                <c:pt idx="8">
                  <c:v>1.451104935821093</c:v>
                </c:pt>
                <c:pt idx="9">
                  <c:v>1.4508843897490185</c:v>
                </c:pt>
                <c:pt idx="10">
                  <c:v>1.4517224648229015</c:v>
                </c:pt>
                <c:pt idx="11">
                  <c:v>1.450727834142038</c:v>
                </c:pt>
                <c:pt idx="12">
                  <c:v>1.4511490450355078</c:v>
                </c:pt>
                <c:pt idx="13">
                  <c:v>1.4521835024261138</c:v>
                </c:pt>
                <c:pt idx="14">
                  <c:v>1.4521835024261138</c:v>
                </c:pt>
                <c:pt idx="15">
                  <c:v>1.4514578095364121</c:v>
                </c:pt>
                <c:pt idx="16">
                  <c:v>1.4503308337009264</c:v>
                </c:pt>
                <c:pt idx="17">
                  <c:v>1.4506837229819145</c:v>
                </c:pt>
                <c:pt idx="18">
                  <c:v>1.4527128363475958</c:v>
                </c:pt>
                <c:pt idx="19">
                  <c:v>1.4419743284372104</c:v>
                </c:pt>
                <c:pt idx="20">
                  <c:v>1.448566387295986</c:v>
                </c:pt>
                <c:pt idx="21">
                  <c:v>1.4513695911075823</c:v>
                </c:pt>
                <c:pt idx="22">
                  <c:v>1.4508601676224084</c:v>
                </c:pt>
                <c:pt idx="23">
                  <c:v>1.4503550791760398</c:v>
                </c:pt>
                <c:pt idx="24">
                  <c:v>1.4538597265108073</c:v>
                </c:pt>
                <c:pt idx="25">
                  <c:v>1.4498014997794444</c:v>
                </c:pt>
                <c:pt idx="26">
                  <c:v>1.4501985002205557</c:v>
                </c:pt>
                <c:pt idx="27">
                  <c:v>1.4531980591089546</c:v>
                </c:pt>
                <c:pt idx="28">
                  <c:v>1.4497132774591974</c:v>
                </c:pt>
                <c:pt idx="29">
                  <c:v>1.4513012792236435</c:v>
                </c:pt>
                <c:pt idx="30">
                  <c:v>1.4514336127040142</c:v>
                </c:pt>
                <c:pt idx="31">
                  <c:v>1.3971593665916808</c:v>
                </c:pt>
                <c:pt idx="32">
                  <c:v>1.177900308778121</c:v>
                </c:pt>
                <c:pt idx="33">
                  <c:v>1.175245908870363</c:v>
                </c:pt>
                <c:pt idx="34">
                  <c:v>1.2534627260696958</c:v>
                </c:pt>
                <c:pt idx="35">
                  <c:v>1.4499338332598148</c:v>
                </c:pt>
                <c:pt idx="36">
                  <c:v>1.4500661667401853</c:v>
                </c:pt>
                <c:pt idx="37">
                  <c:v>1.4524922805469784</c:v>
                </c:pt>
                <c:pt idx="38">
                  <c:v>1.4499779444199383</c:v>
                </c:pt>
                <c:pt idx="39">
                  <c:v>1.4502867225408027</c:v>
                </c:pt>
                <c:pt idx="40">
                  <c:v>1.452359947066608</c:v>
                </c:pt>
                <c:pt idx="41">
                  <c:v>1.4529333921482135</c:v>
                </c:pt>
                <c:pt idx="42">
                  <c:v>1.4503109699616248</c:v>
                </c:pt>
                <c:pt idx="43">
                  <c:v>1.4510167173922632</c:v>
                </c:pt>
              </c:numCache>
            </c:numRef>
          </c:xVal>
          <c:yVal>
            <c:numRef>
              <c:f>Sheet1!$B$2:$B$45</c:f>
              <c:numCache>
                <c:formatCode>General</c:formatCode>
                <c:ptCount val="44"/>
                <c:pt idx="0">
                  <c:v>0.14715445826048593</c:v>
                </c:pt>
                <c:pt idx="1">
                  <c:v>0.15783677918121328</c:v>
                </c:pt>
                <c:pt idx="2">
                  <c:v>0.1307079321251944</c:v>
                </c:pt>
                <c:pt idx="3">
                  <c:v>0.139011998272599</c:v>
                </c:pt>
                <c:pt idx="4">
                  <c:v>0.1515192794640854</c:v>
                </c:pt>
                <c:pt idx="5">
                  <c:v>0.13423321611286837</c:v>
                </c:pt>
                <c:pt idx="6">
                  <c:v>0.13693196516340433</c:v>
                </c:pt>
                <c:pt idx="7">
                  <c:v>0.14615447657222044</c:v>
                </c:pt>
                <c:pt idx="8">
                  <c:v>0.13147030129936232</c:v>
                </c:pt>
                <c:pt idx="9">
                  <c:v>0.14141576132129902</c:v>
                </c:pt>
                <c:pt idx="10">
                  <c:v>0.13820684599564234</c:v>
                </c:pt>
                <c:pt idx="11">
                  <c:v>0.14333558780628916</c:v>
                </c:pt>
                <c:pt idx="12">
                  <c:v>0.14832940644413622</c:v>
                </c:pt>
                <c:pt idx="13">
                  <c:v>0.13704507605897073</c:v>
                </c:pt>
                <c:pt idx="14">
                  <c:v>0.14615290111973042</c:v>
                </c:pt>
                <c:pt idx="15">
                  <c:v>0.15537414662939492</c:v>
                </c:pt>
                <c:pt idx="16">
                  <c:v>0.14221032948843013</c:v>
                </c:pt>
                <c:pt idx="17">
                  <c:v>0.1324793655390579</c:v>
                </c:pt>
                <c:pt idx="18">
                  <c:v>0.14827721392167967</c:v>
                </c:pt>
                <c:pt idx="19">
                  <c:v>0.13192184239549148</c:v>
                </c:pt>
                <c:pt idx="20">
                  <c:v>0.17426870496399718</c:v>
                </c:pt>
                <c:pt idx="21">
                  <c:v>0.11727206163249713</c:v>
                </c:pt>
                <c:pt idx="22">
                  <c:v>0.13153657089583862</c:v>
                </c:pt>
                <c:pt idx="23">
                  <c:v>0.14151974196029754</c:v>
                </c:pt>
                <c:pt idx="24">
                  <c:v>0.11616434552819328</c:v>
                </c:pt>
                <c:pt idx="25">
                  <c:v>0.14283522041113164</c:v>
                </c:pt>
                <c:pt idx="26">
                  <c:v>0.11946038538188265</c:v>
                </c:pt>
                <c:pt idx="27">
                  <c:v>0.12233194784266328</c:v>
                </c:pt>
                <c:pt idx="28">
                  <c:v>0.11646882740566719</c:v>
                </c:pt>
                <c:pt idx="29">
                  <c:v>0.13084644858925235</c:v>
                </c:pt>
                <c:pt idx="30">
                  <c:v>0.13697055895320723</c:v>
                </c:pt>
                <c:pt idx="31">
                  <c:v>0.16600626424745632</c:v>
                </c:pt>
                <c:pt idx="32">
                  <c:v>0.15648604758570342</c:v>
                </c:pt>
                <c:pt idx="33">
                  <c:v>0.16885643600028824</c:v>
                </c:pt>
                <c:pt idx="34">
                  <c:v>0.16369612931369082</c:v>
                </c:pt>
                <c:pt idx="35">
                  <c:v>0.12918774577437422</c:v>
                </c:pt>
                <c:pt idx="36">
                  <c:v>0.1569302395289192</c:v>
                </c:pt>
                <c:pt idx="37">
                  <c:v>0.12371776486542949</c:v>
                </c:pt>
                <c:pt idx="38">
                  <c:v>0.13667013197031389</c:v>
                </c:pt>
                <c:pt idx="39">
                  <c:v>0.1392689781028545</c:v>
                </c:pt>
                <c:pt idx="40">
                  <c:v>0.13346321837380268</c:v>
                </c:pt>
                <c:pt idx="41">
                  <c:v>0.1284070314722677</c:v>
                </c:pt>
                <c:pt idx="42">
                  <c:v>0.15583695583695584</c:v>
                </c:pt>
                <c:pt idx="43">
                  <c:v>0.147715495048511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4740626378473753</c:v>
                </c:pt>
                <c:pt idx="1">
                  <c:v>1.46281429201588</c:v>
                </c:pt>
                <c:pt idx="2">
                  <c:v>1.4631467513563583</c:v>
                </c:pt>
                <c:pt idx="3">
                  <c:v>1.4632112924569916</c:v>
                </c:pt>
                <c:pt idx="4">
                  <c:v>1.4638288486987208</c:v>
                </c:pt>
                <c:pt idx="5">
                  <c:v>1.4636524040582266</c:v>
                </c:pt>
                <c:pt idx="6">
                  <c:v>1.4599029554477283</c:v>
                </c:pt>
                <c:pt idx="7">
                  <c:v>1.5099907370649728</c:v>
                </c:pt>
                <c:pt idx="8">
                  <c:v>1.5254080282311426</c:v>
                </c:pt>
                <c:pt idx="9">
                  <c:v>1.5240174672489082</c:v>
                </c:pt>
                <c:pt idx="10">
                  <c:v>1.520952801058668</c:v>
                </c:pt>
                <c:pt idx="11">
                  <c:v>1.3707984119982357</c:v>
                </c:pt>
                <c:pt idx="12">
                  <c:v>1.2391265990295546</c:v>
                </c:pt>
                <c:pt idx="13">
                  <c:v>1.2392924882007852</c:v>
                </c:pt>
                <c:pt idx="14">
                  <c:v>1.366784296426996</c:v>
                </c:pt>
                <c:pt idx="15">
                  <c:v>1.5187684707335363</c:v>
                </c:pt>
                <c:pt idx="16">
                  <c:v>1.5227613586237319</c:v>
                </c:pt>
                <c:pt idx="17">
                  <c:v>1.463720171143752</c:v>
                </c:pt>
                <c:pt idx="18">
                  <c:v>1.3618438464931628</c:v>
                </c:pt>
                <c:pt idx="19">
                  <c:v>1.3611380679311866</c:v>
                </c:pt>
                <c:pt idx="20">
                  <c:v>1.4419743284372104</c:v>
                </c:pt>
                <c:pt idx="21">
                  <c:v>1.5242170269078077</c:v>
                </c:pt>
                <c:pt idx="22">
                  <c:v>1.5224084693427438</c:v>
                </c:pt>
                <c:pt idx="23">
                  <c:v>1.5245258050286723</c:v>
                </c:pt>
                <c:pt idx="24">
                  <c:v>1.5202029113365683</c:v>
                </c:pt>
                <c:pt idx="25">
                  <c:v>1.5241939041065677</c:v>
                </c:pt>
                <c:pt idx="26">
                  <c:v>1.4888398764887516</c:v>
                </c:pt>
                <c:pt idx="27">
                  <c:v>1.4843846493162771</c:v>
                </c:pt>
                <c:pt idx="28">
                  <c:v>1.4885752095280107</c:v>
                </c:pt>
                <c:pt idx="29">
                  <c:v>1.4853550948389944</c:v>
                </c:pt>
                <c:pt idx="30">
                  <c:v>1.487472430524923</c:v>
                </c:pt>
                <c:pt idx="31">
                  <c:v>1.486634318482576</c:v>
                </c:pt>
                <c:pt idx="32">
                  <c:v>1.489656389219708</c:v>
                </c:pt>
                <c:pt idx="33">
                  <c:v>1.4832377591530657</c:v>
                </c:pt>
                <c:pt idx="34">
                  <c:v>1.3987914075250318</c:v>
                </c:pt>
                <c:pt idx="35">
                  <c:v>1.3265549183943537</c:v>
                </c:pt>
                <c:pt idx="36">
                  <c:v>1.3262758590269508</c:v>
                </c:pt>
                <c:pt idx="37">
                  <c:v>1.3243493603881782</c:v>
                </c:pt>
                <c:pt idx="38">
                  <c:v>1.4165674209342332</c:v>
                </c:pt>
                <c:pt idx="39">
                  <c:v>1.4850463167181298</c:v>
                </c:pt>
                <c:pt idx="40">
                  <c:v>1.486833399497155</c:v>
                </c:pt>
                <c:pt idx="41">
                  <c:v>1.3981914424349362</c:v>
                </c:pt>
                <c:pt idx="42">
                  <c:v>1.3275253639170712</c:v>
                </c:pt>
                <c:pt idx="43">
                  <c:v>1.334700718980195</c:v>
                </c:pt>
                <c:pt idx="44">
                  <c:v>1.4033787658241805</c:v>
                </c:pt>
                <c:pt idx="45">
                  <c:v>1.4853109836788707</c:v>
                </c:pt>
                <c:pt idx="46">
                  <c:v>1.4836575360592827</c:v>
                </c:pt>
                <c:pt idx="47">
                  <c:v>1.4820026466696075</c:v>
                </c:pt>
                <c:pt idx="48">
                  <c:v>1.4915971946539632</c:v>
                </c:pt>
                <c:pt idx="49">
                  <c:v>1.4888839876488753</c:v>
                </c:pt>
                <c:pt idx="50">
                  <c:v>1.4848698720776357</c:v>
                </c:pt>
                <c:pt idx="51">
                  <c:v>1.4853109836788707</c:v>
                </c:pt>
              </c:numCache>
            </c:numRef>
          </c:xVal>
          <c:yVal>
            <c:numRef>
              <c:f>Sheet1!$B$48:$B$99</c:f>
              <c:numCache>
                <c:formatCode>General</c:formatCode>
                <c:ptCount val="52"/>
                <c:pt idx="0">
                  <c:v>0.1413745802991466</c:v>
                </c:pt>
                <c:pt idx="1">
                  <c:v>0.158366445560275</c:v>
                </c:pt>
                <c:pt idx="2">
                  <c:v>0.1629342888846704</c:v>
                </c:pt>
                <c:pt idx="3">
                  <c:v>0.13943087442652136</c:v>
                </c:pt>
                <c:pt idx="4">
                  <c:v>0.16676486806370322</c:v>
                </c:pt>
                <c:pt idx="5">
                  <c:v>0.14298069057877505</c:v>
                </c:pt>
                <c:pt idx="6">
                  <c:v>0.1526072329688814</c:v>
                </c:pt>
                <c:pt idx="7">
                  <c:v>0.15596434745701301</c:v>
                </c:pt>
                <c:pt idx="8">
                  <c:v>0.14479913020576576</c:v>
                </c:pt>
                <c:pt idx="9">
                  <c:v>0.13846492192654497</c:v>
                </c:pt>
                <c:pt idx="10">
                  <c:v>0.14296967895362664</c:v>
                </c:pt>
                <c:pt idx="11">
                  <c:v>0.16412611377655928</c:v>
                </c:pt>
                <c:pt idx="12">
                  <c:v>0.19256666874440342</c:v>
                </c:pt>
                <c:pt idx="13">
                  <c:v>0.1614371190201972</c:v>
                </c:pt>
                <c:pt idx="14">
                  <c:v>0.11389625948440342</c:v>
                </c:pt>
                <c:pt idx="15">
                  <c:v>0.1468186753895491</c:v>
                </c:pt>
                <c:pt idx="16">
                  <c:v>0.15650335769434026</c:v>
                </c:pt>
                <c:pt idx="17">
                  <c:v>0.16629852791097566</c:v>
                </c:pt>
                <c:pt idx="18">
                  <c:v>0.16894304919045564</c:v>
                </c:pt>
                <c:pt idx="19">
                  <c:v>0.14643855529464386</c:v>
                </c:pt>
                <c:pt idx="20">
                  <c:v>0.1495827753167817</c:v>
                </c:pt>
                <c:pt idx="21">
                  <c:v>0.14385098409811561</c:v>
                </c:pt>
                <c:pt idx="22">
                  <c:v>0.2131007106945613</c:v>
                </c:pt>
                <c:pt idx="23">
                  <c:v>0.11039893407925716</c:v>
                </c:pt>
                <c:pt idx="24">
                  <c:v>0.12037451760970908</c:v>
                </c:pt>
                <c:pt idx="25">
                  <c:v>0.1643435688934161</c:v>
                </c:pt>
                <c:pt idx="26">
                  <c:v>0.1349541818952275</c:v>
                </c:pt>
                <c:pt idx="27">
                  <c:v>0.13299615393563882</c:v>
                </c:pt>
                <c:pt idx="28">
                  <c:v>0.13984834208282856</c:v>
                </c:pt>
                <c:pt idx="29">
                  <c:v>0.155454594374361</c:v>
                </c:pt>
                <c:pt idx="30">
                  <c:v>0.14548130974395776</c:v>
                </c:pt>
                <c:pt idx="31">
                  <c:v>0.14543614579756764</c:v>
                </c:pt>
                <c:pt idx="32">
                  <c:v>0.16085628963527163</c:v>
                </c:pt>
                <c:pt idx="33">
                  <c:v>0.13490055485107846</c:v>
                </c:pt>
                <c:pt idx="34">
                  <c:v>0.15145243386394777</c:v>
                </c:pt>
                <c:pt idx="35">
                  <c:v>0.13771195255953125</c:v>
                </c:pt>
                <c:pt idx="36">
                  <c:v>0.1588939502112148</c:v>
                </c:pt>
                <c:pt idx="37">
                  <c:v>0.12955644250052048</c:v>
                </c:pt>
                <c:pt idx="38">
                  <c:v>0.1570574825950342</c:v>
                </c:pt>
                <c:pt idx="39">
                  <c:v>0.125342981614118</c:v>
                </c:pt>
                <c:pt idx="40">
                  <c:v>0.1410363081672274</c:v>
                </c:pt>
                <c:pt idx="41">
                  <c:v>0.16855815384502687</c:v>
                </c:pt>
                <c:pt idx="42">
                  <c:v>0.17160199628465728</c:v>
                </c:pt>
                <c:pt idx="43">
                  <c:v>0.13484484925648435</c:v>
                </c:pt>
                <c:pt idx="44">
                  <c:v>0.1111485382135325</c:v>
                </c:pt>
                <c:pt idx="45">
                  <c:v>0.17590031969195385</c:v>
                </c:pt>
                <c:pt idx="46">
                  <c:v>0.1548995754289852</c:v>
                </c:pt>
                <c:pt idx="47">
                  <c:v>0.1575882827447817</c:v>
                </c:pt>
                <c:pt idx="48">
                  <c:v>0.1374056904897226</c:v>
                </c:pt>
                <c:pt idx="49">
                  <c:v>0.14398598101528368</c:v>
                </c:pt>
                <c:pt idx="50">
                  <c:v>0.1473681576686656</c:v>
                </c:pt>
                <c:pt idx="51">
                  <c:v>0.16399822730752187</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3350315118583298</c:v>
                </c:pt>
              </c:numCache>
            </c:numRef>
          </c:xVal>
          <c:yVal>
            <c:numRef>
              <c:f>Sheet1!$B$102:$B$103</c:f>
              <c:numCache>
                <c:formatCode>General</c:formatCode>
                <c:ptCount val="2"/>
                <c:pt idx="0">
                  <c:v>0.15410383398814506</c:v>
                </c:pt>
                <c:pt idx="1">
                  <c:v>0.1541038339881450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3350315118583298</c:v>
                </c:pt>
                <c:pt idx="1">
                  <c:v>1.3350315118583298</c:v>
                </c:pt>
              </c:numCache>
            </c:numRef>
          </c:xVal>
          <c:yVal>
            <c:numRef>
              <c:f>Sheet1!$B$106:$B$107</c:f>
              <c:numCache>
                <c:formatCode>General</c:formatCode>
                <c:ptCount val="2"/>
                <c:pt idx="0">
                  <c:v>0.154103833988145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3350315118583298</c:v>
                </c:pt>
              </c:numCache>
            </c:numRef>
          </c:xVal>
          <c:yVal>
            <c:numRef>
              <c:f>Sheet1!$B$110:$B$111</c:f>
              <c:numCache>
                <c:formatCode>General</c:formatCode>
                <c:ptCount val="2"/>
                <c:pt idx="0">
                  <c:v>0.15410383398814506</c:v>
                </c:pt>
                <c:pt idx="1">
                  <c:v>0.15410383398814506</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3350315118583298</c:v>
                </c:pt>
                <c:pt idx="1">
                  <c:v>1.3350315118583298</c:v>
                </c:pt>
              </c:numCache>
            </c:numRef>
          </c:xVal>
          <c:yVal>
            <c:numRef>
              <c:f>Sheet1!$B$114:$B$115</c:f>
              <c:numCache>
                <c:formatCode>General</c:formatCode>
                <c:ptCount val="2"/>
                <c:pt idx="0">
                  <c:v>0.154103833988145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4734573140063971</c:v>
                </c:pt>
              </c:numCache>
            </c:numRef>
          </c:xVal>
          <c:yVal>
            <c:numRef>
              <c:f>Sheet1!$B$118:$B$119</c:f>
              <c:numCache>
                <c:formatCode>General</c:formatCode>
                <c:ptCount val="2"/>
                <c:pt idx="0">
                  <c:v>0.14874454320984312</c:v>
                </c:pt>
                <c:pt idx="1">
                  <c:v>0.14874454320984312</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4734573140063971</c:v>
                </c:pt>
                <c:pt idx="1">
                  <c:v>1.4734573140063971</c:v>
                </c:pt>
              </c:numCache>
            </c:numRef>
          </c:xVal>
          <c:yVal>
            <c:numRef>
              <c:f>Sheet1!$B$122:$B$123</c:f>
              <c:numCache>
                <c:formatCode>General</c:formatCode>
                <c:ptCount val="2"/>
                <c:pt idx="0">
                  <c:v>0.1487445432098431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4740626378473753</c:v>
                </c:pt>
                <c:pt idx="1">
                  <c:v>1.46281429201588</c:v>
                </c:pt>
                <c:pt idx="2">
                  <c:v>1.4631467513563583</c:v>
                </c:pt>
                <c:pt idx="3">
                  <c:v>1.4632112924569916</c:v>
                </c:pt>
                <c:pt idx="4">
                  <c:v>1.4638288486987208</c:v>
                </c:pt>
                <c:pt idx="5">
                  <c:v>1.4636524040582266</c:v>
                </c:pt>
                <c:pt idx="6">
                  <c:v>1.4599029554477283</c:v>
                </c:pt>
                <c:pt idx="7">
                  <c:v>1.5099907370649728</c:v>
                </c:pt>
                <c:pt idx="8">
                  <c:v>1.5254080282311426</c:v>
                </c:pt>
                <c:pt idx="9">
                  <c:v>1.5240174672489082</c:v>
                </c:pt>
                <c:pt idx="10">
                  <c:v>1.520952801058668</c:v>
                </c:pt>
                <c:pt idx="11">
                  <c:v>1.3707984119982357</c:v>
                </c:pt>
                <c:pt idx="12">
                  <c:v>1.2391265990295546</c:v>
                </c:pt>
                <c:pt idx="13">
                  <c:v>1.2392924882007852</c:v>
                </c:pt>
                <c:pt idx="14">
                  <c:v>1.366784296426996</c:v>
                </c:pt>
                <c:pt idx="15">
                  <c:v>1.5187684707335363</c:v>
                </c:pt>
                <c:pt idx="16">
                  <c:v>1.5227613586237319</c:v>
                </c:pt>
                <c:pt idx="17">
                  <c:v>1.463720171143752</c:v>
                </c:pt>
                <c:pt idx="18">
                  <c:v>1.3618438464931628</c:v>
                </c:pt>
                <c:pt idx="19">
                  <c:v>1.3611380679311866</c:v>
                </c:pt>
                <c:pt idx="20">
                  <c:v>1.4419743284372104</c:v>
                </c:pt>
                <c:pt idx="21">
                  <c:v>1.5242170269078077</c:v>
                </c:pt>
                <c:pt idx="22">
                  <c:v>1.5224084693427438</c:v>
                </c:pt>
                <c:pt idx="23">
                  <c:v>1.5245258050286723</c:v>
                </c:pt>
                <c:pt idx="24">
                  <c:v>1.5202029113365683</c:v>
                </c:pt>
                <c:pt idx="25">
                  <c:v>1.5241939041065677</c:v>
                </c:pt>
                <c:pt idx="26">
                  <c:v>1.4888398764887516</c:v>
                </c:pt>
                <c:pt idx="27">
                  <c:v>1.4843846493162771</c:v>
                </c:pt>
                <c:pt idx="28">
                  <c:v>1.4885752095280107</c:v>
                </c:pt>
                <c:pt idx="29">
                  <c:v>1.4853550948389944</c:v>
                </c:pt>
                <c:pt idx="30">
                  <c:v>1.487472430524923</c:v>
                </c:pt>
                <c:pt idx="31">
                  <c:v>1.486634318482576</c:v>
                </c:pt>
                <c:pt idx="32">
                  <c:v>1.489656389219708</c:v>
                </c:pt>
                <c:pt idx="33">
                  <c:v>1.4832377591530657</c:v>
                </c:pt>
                <c:pt idx="34">
                  <c:v>1.3987914075250318</c:v>
                </c:pt>
                <c:pt idx="35">
                  <c:v>1.3265549183943537</c:v>
                </c:pt>
                <c:pt idx="36">
                  <c:v>1.3262758590269508</c:v>
                </c:pt>
                <c:pt idx="37">
                  <c:v>1.3243493603881782</c:v>
                </c:pt>
                <c:pt idx="38">
                  <c:v>1.4165674209342332</c:v>
                </c:pt>
                <c:pt idx="39">
                  <c:v>1.4850463167181298</c:v>
                </c:pt>
                <c:pt idx="40">
                  <c:v>1.486833399497155</c:v>
                </c:pt>
                <c:pt idx="41">
                  <c:v>1.3981914424349362</c:v>
                </c:pt>
                <c:pt idx="42">
                  <c:v>1.3275253639170712</c:v>
                </c:pt>
                <c:pt idx="43">
                  <c:v>1.334700718980195</c:v>
                </c:pt>
                <c:pt idx="44">
                  <c:v>1.4033787658241805</c:v>
                </c:pt>
                <c:pt idx="45">
                  <c:v>1.4853109836788707</c:v>
                </c:pt>
                <c:pt idx="46">
                  <c:v>1.4836575360592827</c:v>
                </c:pt>
                <c:pt idx="47">
                  <c:v>1.4820026466696075</c:v>
                </c:pt>
                <c:pt idx="48">
                  <c:v>1.4915971946539632</c:v>
                </c:pt>
                <c:pt idx="49">
                  <c:v>1.4888839876488753</c:v>
                </c:pt>
                <c:pt idx="50">
                  <c:v>1.4848698720776357</c:v>
                </c:pt>
                <c:pt idx="51">
                  <c:v>1.4853109836788707</c:v>
                </c:pt>
                <c:pt idx="52">
                  <c:v>1.3350315118583298</c:v>
                </c:pt>
                <c:pt idx="53">
                  <c:v>1.3350315118583298</c:v>
                </c:pt>
                <c:pt idx="54">
                  <c:v>1.4734573140063971</c:v>
                </c:pt>
              </c:numCache>
            </c:numRef>
          </c:xVal>
          <c:yVal>
            <c:numRef>
              <c:f>Sheet1!$B$126:$B$180</c:f>
              <c:numCache>
                <c:formatCode>General</c:formatCode>
                <c:ptCount val="55"/>
                <c:pt idx="0">
                  <c:v>0.1487211075032877</c:v>
                </c:pt>
                <c:pt idx="1">
                  <c:v>0.14915659825104152</c:v>
                </c:pt>
                <c:pt idx="2">
                  <c:v>0.14914372676140636</c:v>
                </c:pt>
                <c:pt idx="3">
                  <c:v>0.14914122798935608</c:v>
                </c:pt>
                <c:pt idx="4">
                  <c:v>0.14911731869340097</c:v>
                </c:pt>
                <c:pt idx="5">
                  <c:v>0.14912414992081674</c:v>
                </c:pt>
                <c:pt idx="6">
                  <c:v>0.14926931350340134</c:v>
                </c:pt>
                <c:pt idx="7">
                  <c:v>0.14733011588300562</c:v>
                </c:pt>
                <c:pt idx="8">
                  <c:v>0.14673322032530556</c:v>
                </c:pt>
                <c:pt idx="9">
                  <c:v>0.14678705725839974</c:v>
                </c:pt>
                <c:pt idx="10">
                  <c:v>0.14690570881755313</c:v>
                </c:pt>
                <c:pt idx="11">
                  <c:v>0.15271908334835316</c:v>
                </c:pt>
                <c:pt idx="12">
                  <c:v>0.15781688680735376</c:v>
                </c:pt>
                <c:pt idx="13">
                  <c:v>0.15781046424528944</c:v>
                </c:pt>
                <c:pt idx="14">
                  <c:v>0.1528744937720614</c:v>
                </c:pt>
                <c:pt idx="15">
                  <c:v>0.14699027730974595</c:v>
                </c:pt>
                <c:pt idx="16">
                  <c:v>0.14683568873654174</c:v>
                </c:pt>
                <c:pt idx="17">
                  <c:v>0.14912152625159544</c:v>
                </c:pt>
                <c:pt idx="18">
                  <c:v>0.15306576813970227</c:v>
                </c:pt>
                <c:pt idx="19">
                  <c:v>0.15309309304936525</c:v>
                </c:pt>
                <c:pt idx="20">
                  <c:v>0.14996343789288694</c:v>
                </c:pt>
                <c:pt idx="21">
                  <c:v>0.14677933111036184</c:v>
                </c:pt>
                <c:pt idx="22">
                  <c:v>0.14684935119137324</c:v>
                </c:pt>
                <c:pt idx="23">
                  <c:v>0.14676737646238427</c:v>
                </c:pt>
                <c:pt idx="24">
                  <c:v>0.14693474153407005</c:v>
                </c:pt>
                <c:pt idx="25">
                  <c:v>0.1467802263323041</c:v>
                </c:pt>
                <c:pt idx="26">
                  <c:v>0.14814899220721894</c:v>
                </c:pt>
                <c:pt idx="27">
                  <c:v>0.14832148069946655</c:v>
                </c:pt>
                <c:pt idx="28">
                  <c:v>0.14815923904834255</c:v>
                </c:pt>
                <c:pt idx="29">
                  <c:v>0.14828390894867993</c:v>
                </c:pt>
                <c:pt idx="30">
                  <c:v>0.14820193421969097</c:v>
                </c:pt>
                <c:pt idx="31">
                  <c:v>0.14823438254991578</c:v>
                </c:pt>
                <c:pt idx="32">
                  <c:v>0.14811738011553174</c:v>
                </c:pt>
                <c:pt idx="33">
                  <c:v>0.1483658836776689</c:v>
                </c:pt>
                <c:pt idx="34">
                  <c:v>0.15163530705480252</c:v>
                </c:pt>
                <c:pt idx="35">
                  <c:v>0.15443201362285153</c:v>
                </c:pt>
                <c:pt idx="36">
                  <c:v>0.15444281768012347</c:v>
                </c:pt>
                <c:pt idx="37">
                  <c:v>0.15451740396554836</c:v>
                </c:pt>
                <c:pt idx="38">
                  <c:v>0.15094709125066363</c:v>
                </c:pt>
                <c:pt idx="39">
                  <c:v>0.1482958635966575</c:v>
                </c:pt>
                <c:pt idx="40">
                  <c:v>0.1482266749330625</c:v>
                </c:pt>
                <c:pt idx="41">
                  <c:v>0.15165853529205855</c:v>
                </c:pt>
                <c:pt idx="42">
                  <c:v>0.1543944418720649</c:v>
                </c:pt>
                <c:pt idx="43">
                  <c:v>0.15411664095905514</c:v>
                </c:pt>
                <c:pt idx="44">
                  <c:v>0.15145770297631506</c:v>
                </c:pt>
                <c:pt idx="45">
                  <c:v>0.14828561675553387</c:v>
                </c:pt>
                <c:pt idx="46">
                  <c:v>0.14834963160278458</c:v>
                </c:pt>
                <c:pt idx="47">
                  <c:v>0.14841370226957912</c:v>
                </c:pt>
                <c:pt idx="48">
                  <c:v>0.14804223992847937</c:v>
                </c:pt>
                <c:pt idx="49">
                  <c:v>0.148147284400365</c:v>
                </c:pt>
                <c:pt idx="50">
                  <c:v>0.14830269482407324</c:v>
                </c:pt>
                <c:pt idx="51">
                  <c:v>0.14828561675553387</c:v>
                </c:pt>
                <c:pt idx="52">
                  <c:v>0.15410383398814506</c:v>
                </c:pt>
                <c:pt idx="53">
                  <c:v>0.15410383398814506</c:v>
                </c:pt>
                <c:pt idx="54">
                  <c:v>0.1487445432098431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72085283347357"/>
          <c:min val="0.0883191472634057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3.2907</c:v>
                </c:pt>
                <c:pt idx="1">
                  <c:v>3.2842</c:v>
                </c:pt>
                <c:pt idx="2">
                  <c:v>3.2977</c:v>
                </c:pt>
                <c:pt idx="3">
                  <c:v>3.2902</c:v>
                </c:pt>
                <c:pt idx="4">
                  <c:v>3.291</c:v>
                </c:pt>
                <c:pt idx="5">
                  <c:v>3.2875</c:v>
                </c:pt>
                <c:pt idx="6">
                  <c:v>3.2949</c:v>
                </c:pt>
                <c:pt idx="7">
                  <c:v>3.2908</c:v>
                </c:pt>
                <c:pt idx="8">
                  <c:v>3.2898</c:v>
                </c:pt>
                <c:pt idx="9">
                  <c:v>3.2893</c:v>
                </c:pt>
                <c:pt idx="10">
                  <c:v>3.2912</c:v>
                </c:pt>
                <c:pt idx="11">
                  <c:v>3.2888</c:v>
                </c:pt>
                <c:pt idx="12">
                  <c:v>3.2899</c:v>
                </c:pt>
                <c:pt idx="13">
                  <c:v>3.2921</c:v>
                </c:pt>
                <c:pt idx="14">
                  <c:v>3.2921</c:v>
                </c:pt>
                <c:pt idx="15">
                  <c:v>3.2906</c:v>
                </c:pt>
                <c:pt idx="16">
                  <c:v>3.2879</c:v>
                </c:pt>
                <c:pt idx="17">
                  <c:v>3.2887</c:v>
                </c:pt>
                <c:pt idx="18">
                  <c:v>3.2933</c:v>
                </c:pt>
                <c:pt idx="19">
                  <c:v>3.2691</c:v>
                </c:pt>
                <c:pt idx="20">
                  <c:v>3.2839</c:v>
                </c:pt>
                <c:pt idx="21">
                  <c:v>3.2904</c:v>
                </c:pt>
                <c:pt idx="22">
                  <c:v>3.2891</c:v>
                </c:pt>
                <c:pt idx="23">
                  <c:v>3.2881</c:v>
                </c:pt>
                <c:pt idx="24">
                  <c:v>3.2959</c:v>
                </c:pt>
                <c:pt idx="25">
                  <c:v>3.2867</c:v>
                </c:pt>
                <c:pt idx="26">
                  <c:v>3.2876</c:v>
                </c:pt>
                <c:pt idx="27">
                  <c:v>3.2944</c:v>
                </c:pt>
                <c:pt idx="28">
                  <c:v>3.2865</c:v>
                </c:pt>
                <c:pt idx="29">
                  <c:v>3.2901</c:v>
                </c:pt>
                <c:pt idx="30">
                  <c:v>3.2904</c:v>
                </c:pt>
                <c:pt idx="31">
                  <c:v>3.1675</c:v>
                </c:pt>
                <c:pt idx="32">
                  <c:v>2.6703</c:v>
                </c:pt>
                <c:pt idx="33">
                  <c:v>2.6644</c:v>
                </c:pt>
                <c:pt idx="34">
                  <c:v>2.8416</c:v>
                </c:pt>
                <c:pt idx="35">
                  <c:v>3.287</c:v>
                </c:pt>
                <c:pt idx="36">
                  <c:v>3.2873</c:v>
                </c:pt>
                <c:pt idx="37">
                  <c:v>3.2928</c:v>
                </c:pt>
                <c:pt idx="38">
                  <c:v>3.2871</c:v>
                </c:pt>
                <c:pt idx="39">
                  <c:v>3.2878</c:v>
                </c:pt>
                <c:pt idx="40">
                  <c:v>3.2925</c:v>
                </c:pt>
                <c:pt idx="41">
                  <c:v>3.2938</c:v>
                </c:pt>
                <c:pt idx="42">
                  <c:v>3.288</c:v>
                </c:pt>
                <c:pt idx="43">
                  <c:v>3.2896</c:v>
                </c:pt>
              </c:numCache>
            </c:numRef>
          </c:xVal>
          <c:yVal>
            <c:numRef>
              <c:f>Sheet1!$B$2:$B$45</c:f>
              <c:numCache>
                <c:formatCode>General</c:formatCode>
                <c:ptCount val="44"/>
                <c:pt idx="0">
                  <c:v>0.14715445826048593</c:v>
                </c:pt>
                <c:pt idx="1">
                  <c:v>0.15783677918121328</c:v>
                </c:pt>
                <c:pt idx="2">
                  <c:v>0.1307079321251944</c:v>
                </c:pt>
                <c:pt idx="3">
                  <c:v>0.139011998272599</c:v>
                </c:pt>
                <c:pt idx="4">
                  <c:v>0.1515192794640854</c:v>
                </c:pt>
                <c:pt idx="5">
                  <c:v>0.13423321611286837</c:v>
                </c:pt>
                <c:pt idx="6">
                  <c:v>0.13693196516340433</c:v>
                </c:pt>
                <c:pt idx="7">
                  <c:v>0.14615447657222044</c:v>
                </c:pt>
                <c:pt idx="8">
                  <c:v>0.13147030129936232</c:v>
                </c:pt>
                <c:pt idx="9">
                  <c:v>0.14141576132129902</c:v>
                </c:pt>
                <c:pt idx="10">
                  <c:v>0.13820684599564234</c:v>
                </c:pt>
                <c:pt idx="11">
                  <c:v>0.14333558780628916</c:v>
                </c:pt>
                <c:pt idx="12">
                  <c:v>0.14832940644413622</c:v>
                </c:pt>
                <c:pt idx="13">
                  <c:v>0.13704507605897073</c:v>
                </c:pt>
                <c:pt idx="14">
                  <c:v>0.14615290111973042</c:v>
                </c:pt>
                <c:pt idx="15">
                  <c:v>0.15537414662939492</c:v>
                </c:pt>
                <c:pt idx="16">
                  <c:v>0.14221032948843013</c:v>
                </c:pt>
                <c:pt idx="17">
                  <c:v>0.1324793655390579</c:v>
                </c:pt>
                <c:pt idx="18">
                  <c:v>0.14827721392167967</c:v>
                </c:pt>
                <c:pt idx="19">
                  <c:v>0.13192184239549148</c:v>
                </c:pt>
                <c:pt idx="20">
                  <c:v>0.17426870496399718</c:v>
                </c:pt>
                <c:pt idx="21">
                  <c:v>0.11727206163249713</c:v>
                </c:pt>
                <c:pt idx="22">
                  <c:v>0.13153657089583862</c:v>
                </c:pt>
                <c:pt idx="23">
                  <c:v>0.14151974196029754</c:v>
                </c:pt>
                <c:pt idx="24">
                  <c:v>0.11616434552819328</c:v>
                </c:pt>
                <c:pt idx="25">
                  <c:v>0.14283522041113164</c:v>
                </c:pt>
                <c:pt idx="26">
                  <c:v>0.11946038538188265</c:v>
                </c:pt>
                <c:pt idx="27">
                  <c:v>0.12233194784266328</c:v>
                </c:pt>
                <c:pt idx="28">
                  <c:v>0.11646882740566719</c:v>
                </c:pt>
                <c:pt idx="29">
                  <c:v>0.13084644858925235</c:v>
                </c:pt>
                <c:pt idx="30">
                  <c:v>0.13697055895320723</c:v>
                </c:pt>
                <c:pt idx="31">
                  <c:v>0.16600626424745632</c:v>
                </c:pt>
                <c:pt idx="32">
                  <c:v>0.15648604758570342</c:v>
                </c:pt>
                <c:pt idx="33">
                  <c:v>0.16885643600028824</c:v>
                </c:pt>
                <c:pt idx="34">
                  <c:v>0.16369612931369082</c:v>
                </c:pt>
                <c:pt idx="35">
                  <c:v>0.12918774577437422</c:v>
                </c:pt>
                <c:pt idx="36">
                  <c:v>0.1569302395289192</c:v>
                </c:pt>
                <c:pt idx="37">
                  <c:v>0.12371776486542949</c:v>
                </c:pt>
                <c:pt idx="38">
                  <c:v>0.13667013197031389</c:v>
                </c:pt>
                <c:pt idx="39">
                  <c:v>0.1392689781028545</c:v>
                </c:pt>
                <c:pt idx="40">
                  <c:v>0.13346321837380268</c:v>
                </c:pt>
                <c:pt idx="41">
                  <c:v>0.1284070314722677</c:v>
                </c:pt>
                <c:pt idx="42">
                  <c:v>0.15583695583695584</c:v>
                </c:pt>
                <c:pt idx="43">
                  <c:v>0.147715495048511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numCache>
            </c:numRef>
          </c:xVal>
          <c:yVal>
            <c:numRef>
              <c:f>Sheet1!$B$48:$B$99</c:f>
              <c:numCache>
                <c:formatCode>General</c:formatCode>
                <c:ptCount val="52"/>
                <c:pt idx="0">
                  <c:v>0.1413745802991466</c:v>
                </c:pt>
                <c:pt idx="1">
                  <c:v>0.158366445560275</c:v>
                </c:pt>
                <c:pt idx="2">
                  <c:v>0.1629342888846704</c:v>
                </c:pt>
                <c:pt idx="3">
                  <c:v>0.13943087442652136</c:v>
                </c:pt>
                <c:pt idx="4">
                  <c:v>0.16676486806370322</c:v>
                </c:pt>
                <c:pt idx="5">
                  <c:v>0.14298069057877505</c:v>
                </c:pt>
                <c:pt idx="6">
                  <c:v>0.1526072329688814</c:v>
                </c:pt>
                <c:pt idx="7">
                  <c:v>0.15596434745701301</c:v>
                </c:pt>
                <c:pt idx="8">
                  <c:v>0.14479913020576576</c:v>
                </c:pt>
                <c:pt idx="9">
                  <c:v>0.13846492192654497</c:v>
                </c:pt>
                <c:pt idx="10">
                  <c:v>0.14296967895362664</c:v>
                </c:pt>
                <c:pt idx="11">
                  <c:v>0.16412611377655928</c:v>
                </c:pt>
                <c:pt idx="12">
                  <c:v>0.19256666874440342</c:v>
                </c:pt>
                <c:pt idx="13">
                  <c:v>0.1614371190201972</c:v>
                </c:pt>
                <c:pt idx="14">
                  <c:v>0.11389625948440342</c:v>
                </c:pt>
                <c:pt idx="15">
                  <c:v>0.1468186753895491</c:v>
                </c:pt>
                <c:pt idx="16">
                  <c:v>0.15650335769434026</c:v>
                </c:pt>
                <c:pt idx="17">
                  <c:v>0.16629852791097566</c:v>
                </c:pt>
                <c:pt idx="18">
                  <c:v>0.16894304919045564</c:v>
                </c:pt>
                <c:pt idx="19">
                  <c:v>0.14643855529464386</c:v>
                </c:pt>
                <c:pt idx="20">
                  <c:v>0.1495827753167817</c:v>
                </c:pt>
                <c:pt idx="21">
                  <c:v>0.14385098409811561</c:v>
                </c:pt>
                <c:pt idx="22">
                  <c:v>0.2131007106945613</c:v>
                </c:pt>
                <c:pt idx="23">
                  <c:v>0.11039893407925716</c:v>
                </c:pt>
                <c:pt idx="24">
                  <c:v>0.12037451760970908</c:v>
                </c:pt>
                <c:pt idx="25">
                  <c:v>0.1643435688934161</c:v>
                </c:pt>
                <c:pt idx="26">
                  <c:v>0.1349541818952275</c:v>
                </c:pt>
                <c:pt idx="27">
                  <c:v>0.13299615393563882</c:v>
                </c:pt>
                <c:pt idx="28">
                  <c:v>0.13984834208282856</c:v>
                </c:pt>
                <c:pt idx="29">
                  <c:v>0.155454594374361</c:v>
                </c:pt>
                <c:pt idx="30">
                  <c:v>0.14548130974395776</c:v>
                </c:pt>
                <c:pt idx="31">
                  <c:v>0.14543614579756764</c:v>
                </c:pt>
                <c:pt idx="32">
                  <c:v>0.16085628963527163</c:v>
                </c:pt>
                <c:pt idx="33">
                  <c:v>0.13490055485107846</c:v>
                </c:pt>
                <c:pt idx="34">
                  <c:v>0.15145243386394777</c:v>
                </c:pt>
                <c:pt idx="35">
                  <c:v>0.13771195255953125</c:v>
                </c:pt>
                <c:pt idx="36">
                  <c:v>0.1588939502112148</c:v>
                </c:pt>
                <c:pt idx="37">
                  <c:v>0.12955644250052048</c:v>
                </c:pt>
                <c:pt idx="38">
                  <c:v>0.1570574825950342</c:v>
                </c:pt>
                <c:pt idx="39">
                  <c:v>0.125342981614118</c:v>
                </c:pt>
                <c:pt idx="40">
                  <c:v>0.1410363081672274</c:v>
                </c:pt>
                <c:pt idx="41">
                  <c:v>0.16855815384502687</c:v>
                </c:pt>
                <c:pt idx="42">
                  <c:v>0.17160199628465728</c:v>
                </c:pt>
                <c:pt idx="43">
                  <c:v>0.13484484925648435</c:v>
                </c:pt>
                <c:pt idx="44">
                  <c:v>0.1111485382135325</c:v>
                </c:pt>
                <c:pt idx="45">
                  <c:v>0.17590031969195385</c:v>
                </c:pt>
                <c:pt idx="46">
                  <c:v>0.1548995754289852</c:v>
                </c:pt>
                <c:pt idx="47">
                  <c:v>0.1575882827447817</c:v>
                </c:pt>
                <c:pt idx="48">
                  <c:v>0.1374056904897226</c:v>
                </c:pt>
                <c:pt idx="49">
                  <c:v>0.14398598101528368</c:v>
                </c:pt>
                <c:pt idx="50">
                  <c:v>0.1473681576686656</c:v>
                </c:pt>
                <c:pt idx="51">
                  <c:v>0.16399822730752187</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3.026555569067408</c:v>
                </c:pt>
              </c:numCache>
            </c:numRef>
          </c:xVal>
          <c:yVal>
            <c:numRef>
              <c:f>Sheet1!$B$102:$B$103</c:f>
              <c:numCache>
                <c:formatCode>General</c:formatCode>
                <c:ptCount val="2"/>
                <c:pt idx="0">
                  <c:v>0.15410383398814506</c:v>
                </c:pt>
                <c:pt idx="1">
                  <c:v>0.1541038339881450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3.026555569067408</c:v>
                </c:pt>
                <c:pt idx="1">
                  <c:v>3.026555569067408</c:v>
                </c:pt>
              </c:numCache>
            </c:numRef>
          </c:xVal>
          <c:yVal>
            <c:numRef>
              <c:f>Sheet1!$B$106:$B$107</c:f>
              <c:numCache>
                <c:formatCode>General</c:formatCode>
                <c:ptCount val="2"/>
                <c:pt idx="0">
                  <c:v>0.154103833988145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3.026555569067408</c:v>
                </c:pt>
              </c:numCache>
            </c:numRef>
          </c:xVal>
          <c:yVal>
            <c:numRef>
              <c:f>Sheet1!$B$110:$B$111</c:f>
              <c:numCache>
                <c:formatCode>General</c:formatCode>
                <c:ptCount val="2"/>
                <c:pt idx="0">
                  <c:v>0.15410383398814506</c:v>
                </c:pt>
                <c:pt idx="1">
                  <c:v>0.15410383398814506</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026555569067408</c:v>
                </c:pt>
                <c:pt idx="1">
                  <c:v>3.026555569067408</c:v>
                </c:pt>
              </c:numCache>
            </c:numRef>
          </c:xVal>
          <c:yVal>
            <c:numRef>
              <c:f>Sheet1!$B$114:$B$115</c:f>
              <c:numCache>
                <c:formatCode>General</c:formatCode>
                <c:ptCount val="2"/>
                <c:pt idx="0">
                  <c:v>0.154103833988145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3.3403765838535118</c:v>
                </c:pt>
              </c:numCache>
            </c:numRef>
          </c:xVal>
          <c:yVal>
            <c:numRef>
              <c:f>Sheet1!$B$118:$B$119</c:f>
              <c:numCache>
                <c:formatCode>General</c:formatCode>
                <c:ptCount val="2"/>
                <c:pt idx="0">
                  <c:v>0.14874454320984312</c:v>
                </c:pt>
                <c:pt idx="1">
                  <c:v>0.14874454320984312</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3.3403765838535118</c:v>
                </c:pt>
                <c:pt idx="1">
                  <c:v>3.3403765838535118</c:v>
                </c:pt>
              </c:numCache>
            </c:numRef>
          </c:xVal>
          <c:yVal>
            <c:numRef>
              <c:f>Sheet1!$B$122:$B$123</c:f>
              <c:numCache>
                <c:formatCode>General</c:formatCode>
                <c:ptCount val="2"/>
                <c:pt idx="0">
                  <c:v>0.1487445432098431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pt idx="52">
                  <c:v>3.026555569067408</c:v>
                </c:pt>
                <c:pt idx="53">
                  <c:v>3.026555569067408</c:v>
                </c:pt>
                <c:pt idx="54">
                  <c:v>3.3403765838535118</c:v>
                </c:pt>
              </c:numCache>
            </c:numRef>
          </c:xVal>
          <c:yVal>
            <c:numRef>
              <c:f>Sheet1!$B$126:$B$180</c:f>
              <c:numCache>
                <c:formatCode>General</c:formatCode>
                <c:ptCount val="55"/>
                <c:pt idx="0">
                  <c:v>0.14872194251831658</c:v>
                </c:pt>
                <c:pt idx="1">
                  <c:v>0.14915741977575853</c:v>
                </c:pt>
                <c:pt idx="2">
                  <c:v>0.14914204999020175</c:v>
                </c:pt>
                <c:pt idx="3">
                  <c:v>0.14914204999020175</c:v>
                </c:pt>
                <c:pt idx="4">
                  <c:v>0.14911814143489122</c:v>
                </c:pt>
                <c:pt idx="5">
                  <c:v>0.14912497245069423</c:v>
                </c:pt>
                <c:pt idx="6">
                  <c:v>0.1492701315365082</c:v>
                </c:pt>
                <c:pt idx="7">
                  <c:v>0.14732841529450236</c:v>
                </c:pt>
                <c:pt idx="8">
                  <c:v>0.14673411691964042</c:v>
                </c:pt>
                <c:pt idx="9">
                  <c:v>0.146785349538163</c:v>
                </c:pt>
                <c:pt idx="10">
                  <c:v>0.14690660006866643</c:v>
                </c:pt>
                <c:pt idx="11">
                  <c:v>0.15271979451702866</c:v>
                </c:pt>
                <c:pt idx="12">
                  <c:v>0.15781744006002552</c:v>
                </c:pt>
                <c:pt idx="13">
                  <c:v>0.15780890129027175</c:v>
                </c:pt>
                <c:pt idx="14">
                  <c:v>0.15287520012654715</c:v>
                </c:pt>
                <c:pt idx="15">
                  <c:v>0.14698857225830256</c:v>
                </c:pt>
                <c:pt idx="16">
                  <c:v>0.14683658215668557</c:v>
                </c:pt>
                <c:pt idx="17">
                  <c:v>0.14911984918884194</c:v>
                </c:pt>
                <c:pt idx="18">
                  <c:v>0.15306646856903147</c:v>
                </c:pt>
                <c:pt idx="19">
                  <c:v>0.1530937926322435</c:v>
                </c:pt>
                <c:pt idx="20">
                  <c:v>0.14996177188656304</c:v>
                </c:pt>
                <c:pt idx="21">
                  <c:v>0.14678022627631074</c:v>
                </c:pt>
                <c:pt idx="22">
                  <c:v>0.1468502441882916</c:v>
                </c:pt>
                <c:pt idx="23">
                  <c:v>0.14676827199865547</c:v>
                </c:pt>
                <c:pt idx="24">
                  <c:v>0.14693563188582923</c:v>
                </c:pt>
                <c:pt idx="25">
                  <c:v>0.14677851852235999</c:v>
                </c:pt>
                <c:pt idx="26">
                  <c:v>0.14814984494481442</c:v>
                </c:pt>
                <c:pt idx="27">
                  <c:v>0.14832232809384044</c:v>
                </c:pt>
                <c:pt idx="28">
                  <c:v>0.14816009146851894</c:v>
                </c:pt>
                <c:pt idx="29">
                  <c:v>0.14828475750692388</c:v>
                </c:pt>
                <c:pt idx="30">
                  <c:v>0.14820278531728776</c:v>
                </c:pt>
                <c:pt idx="31">
                  <c:v>0.14823523264235205</c:v>
                </c:pt>
                <c:pt idx="32">
                  <c:v>0.14811568986579934</c:v>
                </c:pt>
                <c:pt idx="33">
                  <c:v>0.14836672969656</c:v>
                </c:pt>
                <c:pt idx="34">
                  <c:v>0.15163366300434994</c:v>
                </c:pt>
                <c:pt idx="35">
                  <c:v>0.15443267172963365</c:v>
                </c:pt>
                <c:pt idx="36">
                  <c:v>0.15444121049938742</c:v>
                </c:pt>
                <c:pt idx="37">
                  <c:v>0.15451805942717128</c:v>
                </c:pt>
                <c:pt idx="38">
                  <c:v>0.1509454381621966</c:v>
                </c:pt>
                <c:pt idx="39">
                  <c:v>0.14829671178457915</c:v>
                </c:pt>
                <c:pt idx="40">
                  <c:v>0.14822498611864754</c:v>
                </c:pt>
                <c:pt idx="41">
                  <c:v>0.15165927931361123</c:v>
                </c:pt>
                <c:pt idx="42">
                  <c:v>0.1543951011427171</c:v>
                </c:pt>
                <c:pt idx="43">
                  <c:v>0.15411502949479364</c:v>
                </c:pt>
                <c:pt idx="44">
                  <c:v>0.15145605659347167</c:v>
                </c:pt>
                <c:pt idx="45">
                  <c:v>0.14828646526087463</c:v>
                </c:pt>
                <c:pt idx="46">
                  <c:v>0.14834794440310173</c:v>
                </c:pt>
                <c:pt idx="47">
                  <c:v>0.14841454680718108</c:v>
                </c:pt>
                <c:pt idx="48">
                  <c:v>0.14804054869196623</c:v>
                </c:pt>
                <c:pt idx="49">
                  <c:v>0.14814813719086364</c:v>
                </c:pt>
                <c:pt idx="50">
                  <c:v>0.14830354280038216</c:v>
                </c:pt>
                <c:pt idx="51">
                  <c:v>0.14828646526087463</c:v>
                </c:pt>
                <c:pt idx="52">
                  <c:v>0.15410383398814506</c:v>
                </c:pt>
                <c:pt idx="53">
                  <c:v>0.15410383398814506</c:v>
                </c:pt>
                <c:pt idx="54">
                  <c:v>0.1487445432098431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25572085283347357"/>
          <c:min val="0.0883191472634057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472955782832137</c:v>
                </c:pt>
                <c:pt idx="1">
                  <c:v>0.5486185315219051</c:v>
                </c:pt>
                <c:pt idx="2">
                  <c:v>0.549229125324378</c:v>
                </c:pt>
                <c:pt idx="3">
                  <c:v>0.549025594056887</c:v>
                </c:pt>
                <c:pt idx="4">
                  <c:v>0.55019589884496</c:v>
                </c:pt>
                <c:pt idx="5">
                  <c:v>0.5498397191268508</c:v>
                </c:pt>
                <c:pt idx="6">
                  <c:v>0.5501450160280873</c:v>
                </c:pt>
                <c:pt idx="7">
                  <c:v>0.549992367577469</c:v>
                </c:pt>
                <c:pt idx="8">
                  <c:v>0.5915127461456267</c:v>
                </c:pt>
                <c:pt idx="9">
                  <c:v>0.6440746959751692</c:v>
                </c:pt>
                <c:pt idx="10">
                  <c:v>0.6461608914669517</c:v>
                </c:pt>
                <c:pt idx="11">
                  <c:v>0.6461100086500788</c:v>
                </c:pt>
                <c:pt idx="12">
                  <c:v>0.6459064773825879</c:v>
                </c:pt>
                <c:pt idx="13">
                  <c:v>0.6469241337200428</c:v>
                </c:pt>
                <c:pt idx="14">
                  <c:v>0.6463135399175698</c:v>
                </c:pt>
                <c:pt idx="15">
                  <c:v>0.6463644227344425</c:v>
                </c:pt>
                <c:pt idx="16">
                  <c:v>0.6469750165369155</c:v>
                </c:pt>
                <c:pt idx="17">
                  <c:v>0.6465170711850607</c:v>
                </c:pt>
                <c:pt idx="18">
                  <c:v>0.646669719635679</c:v>
                </c:pt>
                <c:pt idx="19">
                  <c:v>0.6468223680862973</c:v>
                </c:pt>
                <c:pt idx="20">
                  <c:v>0.6466188368188063</c:v>
                </c:pt>
                <c:pt idx="21">
                  <c:v>0.6468223680862973</c:v>
                </c:pt>
                <c:pt idx="22">
                  <c:v>0.6513509387879713</c:v>
                </c:pt>
                <c:pt idx="23">
                  <c:v>0.657914822164555</c:v>
                </c:pt>
                <c:pt idx="24">
                  <c:v>0.6560321579402635</c:v>
                </c:pt>
                <c:pt idx="25">
                  <c:v>0.6587798300513916</c:v>
                </c:pt>
                <c:pt idx="26">
                  <c:v>0.658321884699537</c:v>
                </c:pt>
                <c:pt idx="27">
                  <c:v>0.6580165877983004</c:v>
                </c:pt>
                <c:pt idx="28">
                  <c:v>0.6576604080801913</c:v>
                </c:pt>
                <c:pt idx="29">
                  <c:v>0.6572024627283367</c:v>
                </c:pt>
                <c:pt idx="30">
                  <c:v>0.6567445173764819</c:v>
                </c:pt>
                <c:pt idx="31">
                  <c:v>0.6579657049814277</c:v>
                </c:pt>
                <c:pt idx="32">
                  <c:v>0.6576095252633185</c:v>
                </c:pt>
                <c:pt idx="33">
                  <c:v>0.6571006970945912</c:v>
                </c:pt>
                <c:pt idx="34">
                  <c:v>0.6570498142777184</c:v>
                </c:pt>
                <c:pt idx="35">
                  <c:v>0.6574059939958277</c:v>
                </c:pt>
                <c:pt idx="36">
                  <c:v>0.6572024627283367</c:v>
                </c:pt>
                <c:pt idx="37">
                  <c:v>0.6574059939958277</c:v>
                </c:pt>
                <c:pt idx="38">
                  <c:v>0.6575586424464458</c:v>
                </c:pt>
                <c:pt idx="39">
                  <c:v>0.6567445173764819</c:v>
                </c:pt>
                <c:pt idx="40">
                  <c:v>0.6567954001933547</c:v>
                </c:pt>
                <c:pt idx="41">
                  <c:v>0.6578130565308095</c:v>
                </c:pt>
                <c:pt idx="42">
                  <c:v>0.6582710018826643</c:v>
                </c:pt>
                <c:pt idx="43">
                  <c:v>0.6598483692057192</c:v>
                </c:pt>
              </c:numCache>
            </c:numRef>
          </c:xVal>
          <c:yVal>
            <c:numRef>
              <c:f>Sheet1!$B$2:$B$45</c:f>
              <c:numCache>
                <c:formatCode>General</c:formatCode>
                <c:ptCount val="4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pt idx="14">
                  <c:v>0.30519283074599535</c:v>
                </c:pt>
                <c:pt idx="15">
                  <c:v>0.30132207554813073</c:v>
                </c:pt>
                <c:pt idx="16">
                  <c:v>0.29419203662547044</c:v>
                </c:pt>
                <c:pt idx="17">
                  <c:v>0.2980099833610649</c:v>
                </c:pt>
                <c:pt idx="18">
                  <c:v>0.3037604073487924</c:v>
                </c:pt>
                <c:pt idx="19">
                  <c:v>0.3222718113597387</c:v>
                </c:pt>
                <c:pt idx="20">
                  <c:v>0.30424004929540593</c:v>
                </c:pt>
                <c:pt idx="21">
                  <c:v>0.3024987380111055</c:v>
                </c:pt>
                <c:pt idx="22">
                  <c:v>0.2932165815836704</c:v>
                </c:pt>
                <c:pt idx="23">
                  <c:v>0.3012879932882321</c:v>
                </c:pt>
                <c:pt idx="24">
                  <c:v>0.3206353986298276</c:v>
                </c:pt>
                <c:pt idx="25">
                  <c:v>0.3181139572531885</c:v>
                </c:pt>
                <c:pt idx="26">
                  <c:v>0.28773741563131705</c:v>
                </c:pt>
                <c:pt idx="27">
                  <c:v>0.3027053190530197</c:v>
                </c:pt>
                <c:pt idx="28">
                  <c:v>0.3109370118873415</c:v>
                </c:pt>
                <c:pt idx="29">
                  <c:v>0.3041067322017894</c:v>
                </c:pt>
                <c:pt idx="30">
                  <c:v>0.3020382622167113</c:v>
                </c:pt>
                <c:pt idx="31">
                  <c:v>0.3050096276616135</c:v>
                </c:pt>
                <c:pt idx="32">
                  <c:v>0.3001629628725411</c:v>
                </c:pt>
                <c:pt idx="33">
                  <c:v>0.29025647274509747</c:v>
                </c:pt>
                <c:pt idx="34">
                  <c:v>0.29170083602560365</c:v>
                </c:pt>
                <c:pt idx="35">
                  <c:v>0.2961066269659075</c:v>
                </c:pt>
                <c:pt idx="36">
                  <c:v>0.28313576489517406</c:v>
                </c:pt>
                <c:pt idx="37">
                  <c:v>0.3233785146486156</c:v>
                </c:pt>
                <c:pt idx="38">
                  <c:v>0.30253343695987567</c:v>
                </c:pt>
                <c:pt idx="39">
                  <c:v>0.3020828214918505</c:v>
                </c:pt>
                <c:pt idx="40">
                  <c:v>0.30863335234786216</c:v>
                </c:pt>
                <c:pt idx="41">
                  <c:v>0.29148652128539093</c:v>
                </c:pt>
                <c:pt idx="42">
                  <c:v>0.319060988059834</c:v>
                </c:pt>
                <c:pt idx="43">
                  <c:v>0.3129209142344408</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643107922454587</c:v>
                </c:pt>
                <c:pt idx="1">
                  <c:v>0.6642751742736478</c:v>
                </c:pt>
                <c:pt idx="2">
                  <c:v>0.6577621737139367</c:v>
                </c:pt>
                <c:pt idx="3">
                  <c:v>0.6561339235740091</c:v>
                </c:pt>
                <c:pt idx="4">
                  <c:v>0.6761308706049967</c:v>
                </c:pt>
                <c:pt idx="5">
                  <c:v>0.6568462830102274</c:v>
                </c:pt>
                <c:pt idx="6">
                  <c:v>0.6601027832900829</c:v>
                </c:pt>
                <c:pt idx="7">
                  <c:v>0.6627995725843382</c:v>
                </c:pt>
                <c:pt idx="8">
                  <c:v>0.6613748537119015</c:v>
                </c:pt>
                <c:pt idx="9">
                  <c:v>0.6616801506131379</c:v>
                </c:pt>
                <c:pt idx="10">
                  <c:v>0.661273088078156</c:v>
                </c:pt>
                <c:pt idx="11">
                  <c:v>0.6620363303312471</c:v>
                </c:pt>
                <c:pt idx="12">
                  <c:v>0.6592886582201191</c:v>
                </c:pt>
                <c:pt idx="13">
                  <c:v>0.6570498142777184</c:v>
                </c:pt>
                <c:pt idx="14">
                  <c:v>0.6595430723044827</c:v>
                </c:pt>
                <c:pt idx="15">
                  <c:v>0.6597974863888465</c:v>
                </c:pt>
                <c:pt idx="16">
                  <c:v>0.6593904238538646</c:v>
                </c:pt>
                <c:pt idx="17">
                  <c:v>0.6618836818806288</c:v>
                </c:pt>
                <c:pt idx="18">
                  <c:v>0.6607642599094286</c:v>
                </c:pt>
                <c:pt idx="19">
                  <c:v>0.6605607286419376</c:v>
                </c:pt>
                <c:pt idx="20">
                  <c:v>0.6617310334300107</c:v>
                </c:pt>
                <c:pt idx="21">
                  <c:v>0.6619854475143744</c:v>
                </c:pt>
                <c:pt idx="22">
                  <c:v>0.6508421106192438</c:v>
                </c:pt>
                <c:pt idx="23">
                  <c:v>0.6533353686460083</c:v>
                </c:pt>
                <c:pt idx="24">
                  <c:v>0.6537933139978629</c:v>
                </c:pt>
                <c:pt idx="25">
                  <c:v>0.6568462830102274</c:v>
                </c:pt>
                <c:pt idx="26">
                  <c:v>0.6107973337403958</c:v>
                </c:pt>
                <c:pt idx="27">
                  <c:v>0.6125273495140691</c:v>
                </c:pt>
                <c:pt idx="28">
                  <c:v>0.6148170762733425</c:v>
                </c:pt>
                <c:pt idx="29">
                  <c:v>0.6165470920470157</c:v>
                </c:pt>
                <c:pt idx="30">
                  <c:v>0.6177173968350888</c:v>
                </c:pt>
                <c:pt idx="31">
                  <c:v>0.6165470920470157</c:v>
                </c:pt>
                <c:pt idx="32">
                  <c:v>0.6185824047219254</c:v>
                </c:pt>
                <c:pt idx="33">
                  <c:v>0.6163944435963975</c:v>
                </c:pt>
                <c:pt idx="34">
                  <c:v>0.6182262250038162</c:v>
                </c:pt>
                <c:pt idx="35">
                  <c:v>0.6158347326107972</c:v>
                </c:pt>
                <c:pt idx="36">
                  <c:v>0.6149188419070879</c:v>
                </c:pt>
                <c:pt idx="37">
                  <c:v>0.6170050373988704</c:v>
                </c:pt>
                <c:pt idx="38">
                  <c:v>0.6138503027527603</c:v>
                </c:pt>
                <c:pt idx="39">
                  <c:v>0.6141555996539969</c:v>
                </c:pt>
                <c:pt idx="40">
                  <c:v>0.6122220526128327</c:v>
                </c:pt>
                <c:pt idx="41">
                  <c:v>0.6142573652877423</c:v>
                </c:pt>
                <c:pt idx="42">
                  <c:v>0.615122373174579</c:v>
                </c:pt>
                <c:pt idx="43">
                  <c:v>0.6169541545819976</c:v>
                </c:pt>
                <c:pt idx="44">
                  <c:v>0.6142064824708696</c:v>
                </c:pt>
                <c:pt idx="45">
                  <c:v>0.6166997404976339</c:v>
                </c:pt>
                <c:pt idx="46">
                  <c:v>0.6166488576807612</c:v>
                </c:pt>
                <c:pt idx="47">
                  <c:v>0.6155294357095609</c:v>
                </c:pt>
                <c:pt idx="48">
                  <c:v>0.6148679590902152</c:v>
                </c:pt>
                <c:pt idx="49">
                  <c:v>0.6159873810614155</c:v>
                </c:pt>
                <c:pt idx="50">
                  <c:v>0.6154785528926882</c:v>
                </c:pt>
                <c:pt idx="51">
                  <c:v>0.6152750216251972</c:v>
                </c:pt>
              </c:numCache>
            </c:numRef>
          </c:xVal>
          <c:yVal>
            <c:numRef>
              <c:f>Sheet1!$B$48:$B$99</c:f>
              <c:numCache>
                <c:formatCode>General</c:formatCode>
                <c:ptCount val="52"/>
                <c:pt idx="0">
                  <c:v>0.2879371358794948</c:v>
                </c:pt>
                <c:pt idx="1">
                  <c:v>0.2804213839518666</c:v>
                </c:pt>
                <c:pt idx="2">
                  <c:v>0.32528132505538865</c:v>
                </c:pt>
                <c:pt idx="3">
                  <c:v>0.3453819541768158</c:v>
                </c:pt>
                <c:pt idx="4">
                  <c:v>0.21429819155001995</c:v>
                </c:pt>
                <c:pt idx="5">
                  <c:v>0.29945900862044345</c:v>
                </c:pt>
                <c:pt idx="6">
                  <c:v>0.29364977865800934</c:v>
                </c:pt>
                <c:pt idx="7">
                  <c:v>0.2775697597505605</c:v>
                </c:pt>
                <c:pt idx="8">
                  <c:v>0.27256609892215916</c:v>
                </c:pt>
                <c:pt idx="9">
                  <c:v>0.27504210907702986</c:v>
                </c:pt>
                <c:pt idx="10">
                  <c:v>0.2744454377217556</c:v>
                </c:pt>
                <c:pt idx="11">
                  <c:v>0.2801318959763809</c:v>
                </c:pt>
                <c:pt idx="12">
                  <c:v>0.29104210223265414</c:v>
                </c:pt>
                <c:pt idx="13">
                  <c:v>0.27786058347723347</c:v>
                </c:pt>
                <c:pt idx="14">
                  <c:v>0.267031553322221</c:v>
                </c:pt>
                <c:pt idx="15">
                  <c:v>0.2679948188063327</c:v>
                </c:pt>
                <c:pt idx="16">
                  <c:v>0.28056289935211787</c:v>
                </c:pt>
                <c:pt idx="17">
                  <c:v>0.2729132899320325</c:v>
                </c:pt>
                <c:pt idx="18">
                  <c:v>0.2840853563935372</c:v>
                </c:pt>
                <c:pt idx="19">
                  <c:v>0.2860388108045578</c:v>
                </c:pt>
                <c:pt idx="20">
                  <c:v>0.2715300867070865</c:v>
                </c:pt>
                <c:pt idx="21">
                  <c:v>0.2580722718586878</c:v>
                </c:pt>
                <c:pt idx="22">
                  <c:v>0.26209485598056953</c:v>
                </c:pt>
                <c:pt idx="23">
                  <c:v>0.27617596171077236</c:v>
                </c:pt>
                <c:pt idx="24">
                  <c:v>0.2685234920090329</c:v>
                </c:pt>
                <c:pt idx="25">
                  <c:v>0.25891825871551516</c:v>
                </c:pt>
                <c:pt idx="26">
                  <c:v>0.28211270751429546</c:v>
                </c:pt>
                <c:pt idx="27">
                  <c:v>0.2686811739804727</c:v>
                </c:pt>
                <c:pt idx="28">
                  <c:v>0.2738649205610583</c:v>
                </c:pt>
                <c:pt idx="29">
                  <c:v>0.2581772074129992</c:v>
                </c:pt>
                <c:pt idx="30">
                  <c:v>0.27563692514378807</c:v>
                </c:pt>
                <c:pt idx="31">
                  <c:v>0.2649794408910182</c:v>
                </c:pt>
                <c:pt idx="32">
                  <c:v>0.29495817631973503</c:v>
                </c:pt>
                <c:pt idx="33">
                  <c:v>0.2815799724019651</c:v>
                </c:pt>
                <c:pt idx="34">
                  <c:v>0.2677219502187145</c:v>
                </c:pt>
                <c:pt idx="35">
                  <c:v>0.26233906036532195</c:v>
                </c:pt>
                <c:pt idx="36">
                  <c:v>0.27671349807313844</c:v>
                </c:pt>
                <c:pt idx="37">
                  <c:v>0.2863234202276852</c:v>
                </c:pt>
                <c:pt idx="38">
                  <c:v>0.26309286588640085</c:v>
                </c:pt>
                <c:pt idx="39">
                  <c:v>0.2643971510937765</c:v>
                </c:pt>
                <c:pt idx="40">
                  <c:v>0.27714034472955196</c:v>
                </c:pt>
                <c:pt idx="41">
                  <c:v>0.26025490225272846</c:v>
                </c:pt>
                <c:pt idx="42">
                  <c:v>0.2683580660603159</c:v>
                </c:pt>
                <c:pt idx="43">
                  <c:v>0.28428922000376605</c:v>
                </c:pt>
                <c:pt idx="44">
                  <c:v>0.2729921138636471</c:v>
                </c:pt>
                <c:pt idx="45">
                  <c:v>0.2699249910871431</c:v>
                </c:pt>
                <c:pt idx="46">
                  <c:v>0.2745601071572876</c:v>
                </c:pt>
                <c:pt idx="47">
                  <c:v>0.2626631685507377</c:v>
                </c:pt>
                <c:pt idx="48">
                  <c:v>0.27984297388239066</c:v>
                </c:pt>
                <c:pt idx="49">
                  <c:v>0.27570083102493076</c:v>
                </c:pt>
                <c:pt idx="50">
                  <c:v>0.28466412183699974</c:v>
                </c:pt>
                <c:pt idx="51">
                  <c:v>0.278834268919545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0840782346486788</c:v>
                </c:pt>
              </c:numCache>
            </c:numRef>
          </c:xVal>
          <c:yVal>
            <c:numRef>
              <c:f>Sheet1!$B$102:$B$103</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0840782346486788</c:v>
                </c:pt>
                <c:pt idx="1">
                  <c:v>1.0840782346486788</c:v>
                </c:pt>
              </c:numCache>
            </c:numRef>
          </c:xVal>
          <c:yVal>
            <c:numRef>
              <c:f>Sheet1!$B$106:$B$107</c:f>
              <c:numCache>
                <c:formatCode>General</c:formatCode>
                <c:ptCount val="2"/>
                <c:pt idx="0">
                  <c:v>0.30597686965425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7841638346653923</c:v>
                </c:pt>
              </c:numCache>
            </c:numRef>
          </c:xVal>
          <c:yVal>
            <c:numRef>
              <c:f>Sheet1!$B$110:$B$111</c:f>
              <c:numCache>
                <c:formatCode>General</c:formatCode>
                <c:ptCount val="2"/>
                <c:pt idx="0">
                  <c:v>0.285940475505583</c:v>
                </c:pt>
                <c:pt idx="1">
                  <c:v>0.28594047550558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7841638346653923</c:v>
                </c:pt>
                <c:pt idx="1">
                  <c:v>0.7841638346653923</c:v>
                </c:pt>
              </c:numCache>
            </c:numRef>
          </c:xVal>
          <c:yVal>
            <c:numRef>
              <c:f>Sheet1!$B$114:$B$115</c:f>
              <c:numCache>
                <c:formatCode>General</c:formatCode>
                <c:ptCount val="2"/>
                <c:pt idx="0">
                  <c:v>0.285940475505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5957867342041064</c:v>
                </c:pt>
              </c:numCache>
            </c:numRef>
          </c:xVal>
          <c:yVal>
            <c:numRef>
              <c:f>Sheet1!$B$118:$B$119</c:f>
              <c:numCache>
                <c:formatCode>General</c:formatCode>
                <c:ptCount val="2"/>
                <c:pt idx="0">
                  <c:v>0.2733555584971401</c:v>
                </c:pt>
                <c:pt idx="1">
                  <c:v>0.273355558497140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5957867342041064</c:v>
                </c:pt>
                <c:pt idx="1">
                  <c:v>0.5957867342041064</c:v>
                </c:pt>
              </c:numCache>
            </c:numRef>
          </c:xVal>
          <c:yVal>
            <c:numRef>
              <c:f>Sheet1!$B$122:$B$123</c:f>
              <c:numCache>
                <c:formatCode>General</c:formatCode>
                <c:ptCount val="2"/>
                <c:pt idx="0">
                  <c:v>0.27335555849714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643107922454587</c:v>
                </c:pt>
                <c:pt idx="1">
                  <c:v>0.6642751742736478</c:v>
                </c:pt>
                <c:pt idx="2">
                  <c:v>0.6577621737139367</c:v>
                </c:pt>
                <c:pt idx="3">
                  <c:v>0.6561339235740091</c:v>
                </c:pt>
                <c:pt idx="4">
                  <c:v>0.6761308706049967</c:v>
                </c:pt>
                <c:pt idx="5">
                  <c:v>0.6568462830102274</c:v>
                </c:pt>
                <c:pt idx="6">
                  <c:v>0.6601027832900829</c:v>
                </c:pt>
                <c:pt idx="7">
                  <c:v>0.6627995725843382</c:v>
                </c:pt>
                <c:pt idx="8">
                  <c:v>0.6613748537119015</c:v>
                </c:pt>
                <c:pt idx="9">
                  <c:v>0.6616801506131379</c:v>
                </c:pt>
                <c:pt idx="10">
                  <c:v>0.661273088078156</c:v>
                </c:pt>
                <c:pt idx="11">
                  <c:v>0.6620363303312471</c:v>
                </c:pt>
                <c:pt idx="12">
                  <c:v>0.6592886582201191</c:v>
                </c:pt>
                <c:pt idx="13">
                  <c:v>0.6570498142777184</c:v>
                </c:pt>
                <c:pt idx="14">
                  <c:v>0.6595430723044827</c:v>
                </c:pt>
                <c:pt idx="15">
                  <c:v>0.6597974863888465</c:v>
                </c:pt>
                <c:pt idx="16">
                  <c:v>0.6593904238538646</c:v>
                </c:pt>
                <c:pt idx="17">
                  <c:v>0.6618836818806288</c:v>
                </c:pt>
                <c:pt idx="18">
                  <c:v>0.6607642599094286</c:v>
                </c:pt>
                <c:pt idx="19">
                  <c:v>0.6605607286419376</c:v>
                </c:pt>
                <c:pt idx="20">
                  <c:v>0.6617310334300107</c:v>
                </c:pt>
                <c:pt idx="21">
                  <c:v>0.6619854475143744</c:v>
                </c:pt>
                <c:pt idx="22">
                  <c:v>0.6508421106192438</c:v>
                </c:pt>
                <c:pt idx="23">
                  <c:v>0.6533353686460083</c:v>
                </c:pt>
                <c:pt idx="24">
                  <c:v>0.6537933139978629</c:v>
                </c:pt>
                <c:pt idx="25">
                  <c:v>0.6568462830102274</c:v>
                </c:pt>
                <c:pt idx="26">
                  <c:v>0.6107973337403958</c:v>
                </c:pt>
                <c:pt idx="27">
                  <c:v>0.6125273495140691</c:v>
                </c:pt>
                <c:pt idx="28">
                  <c:v>0.6148170762733425</c:v>
                </c:pt>
                <c:pt idx="29">
                  <c:v>0.6165470920470157</c:v>
                </c:pt>
                <c:pt idx="30">
                  <c:v>0.6177173968350888</c:v>
                </c:pt>
                <c:pt idx="31">
                  <c:v>0.6165470920470157</c:v>
                </c:pt>
                <c:pt idx="32">
                  <c:v>0.6185824047219254</c:v>
                </c:pt>
                <c:pt idx="33">
                  <c:v>0.6163944435963975</c:v>
                </c:pt>
                <c:pt idx="34">
                  <c:v>0.6182262250038162</c:v>
                </c:pt>
                <c:pt idx="35">
                  <c:v>0.6158347326107972</c:v>
                </c:pt>
                <c:pt idx="36">
                  <c:v>0.6149188419070879</c:v>
                </c:pt>
                <c:pt idx="37">
                  <c:v>0.6170050373988704</c:v>
                </c:pt>
                <c:pt idx="38">
                  <c:v>0.6138503027527603</c:v>
                </c:pt>
                <c:pt idx="39">
                  <c:v>0.6141555996539969</c:v>
                </c:pt>
                <c:pt idx="40">
                  <c:v>0.6122220526128327</c:v>
                </c:pt>
                <c:pt idx="41">
                  <c:v>0.6142573652877423</c:v>
                </c:pt>
                <c:pt idx="42">
                  <c:v>0.615122373174579</c:v>
                </c:pt>
                <c:pt idx="43">
                  <c:v>0.6169541545819976</c:v>
                </c:pt>
                <c:pt idx="44">
                  <c:v>0.6142064824708696</c:v>
                </c:pt>
                <c:pt idx="45">
                  <c:v>0.6166997404976339</c:v>
                </c:pt>
                <c:pt idx="46">
                  <c:v>0.6166488576807612</c:v>
                </c:pt>
                <c:pt idx="47">
                  <c:v>0.6155294357095609</c:v>
                </c:pt>
                <c:pt idx="48">
                  <c:v>0.6148679590902152</c:v>
                </c:pt>
                <c:pt idx="49">
                  <c:v>0.6159873810614155</c:v>
                </c:pt>
                <c:pt idx="50">
                  <c:v>0.6154785528926882</c:v>
                </c:pt>
                <c:pt idx="51">
                  <c:v>0.6152750216251972</c:v>
                </c:pt>
                <c:pt idx="52">
                  <c:v>0.7841638346653923</c:v>
                </c:pt>
                <c:pt idx="53">
                  <c:v>1.0840782346486788</c:v>
                </c:pt>
                <c:pt idx="54">
                  <c:v>0.5957867342041064</c:v>
                </c:pt>
              </c:numCache>
            </c:numRef>
          </c:xVal>
          <c:yVal>
            <c:numRef>
              <c:f>Sheet1!$B$126:$B$180</c:f>
              <c:numCache>
                <c:formatCode>General</c:formatCode>
                <c:ptCount val="55"/>
                <c:pt idx="0">
                  <c:v>0.2765169471447777</c:v>
                </c:pt>
                <c:pt idx="1">
                  <c:v>0.2779310686424936</c:v>
                </c:pt>
                <c:pt idx="2">
                  <c:v>0.2774959543355041</c:v>
                </c:pt>
                <c:pt idx="3">
                  <c:v>0.27738717575875677</c:v>
                </c:pt>
                <c:pt idx="4">
                  <c:v>0.27872311265443545</c:v>
                </c:pt>
                <c:pt idx="5">
                  <c:v>0.2774347663860837</c:v>
                </c:pt>
                <c:pt idx="6">
                  <c:v>0.27765232353957847</c:v>
                </c:pt>
                <c:pt idx="7">
                  <c:v>0.2778324880573163</c:v>
                </c:pt>
                <c:pt idx="8">
                  <c:v>0.27773730680266234</c:v>
                </c:pt>
                <c:pt idx="9">
                  <c:v>0.2777577027858025</c:v>
                </c:pt>
                <c:pt idx="10">
                  <c:v>0.27773050814161565</c:v>
                </c:pt>
                <c:pt idx="11">
                  <c:v>0.27778149809946595</c:v>
                </c:pt>
                <c:pt idx="12">
                  <c:v>0.27759793425120477</c:v>
                </c:pt>
                <c:pt idx="13">
                  <c:v>0.27744836370817716</c:v>
                </c:pt>
                <c:pt idx="14">
                  <c:v>0.27761493090382156</c:v>
                </c:pt>
                <c:pt idx="15">
                  <c:v>0.27763192755643834</c:v>
                </c:pt>
                <c:pt idx="16">
                  <c:v>0.2776047329122515</c:v>
                </c:pt>
                <c:pt idx="17">
                  <c:v>0.2777713001078959</c:v>
                </c:pt>
                <c:pt idx="18">
                  <c:v>0.2776965148363821</c:v>
                </c:pt>
                <c:pt idx="19">
                  <c:v>0.27768291751428864</c:v>
                </c:pt>
                <c:pt idx="20">
                  <c:v>0.2777611021163259</c:v>
                </c:pt>
                <c:pt idx="21">
                  <c:v>0.2777780987689426</c:v>
                </c:pt>
                <c:pt idx="22">
                  <c:v>0.27703364538432773</c:v>
                </c:pt>
                <c:pt idx="23">
                  <c:v>0.2772002125799722</c:v>
                </c:pt>
                <c:pt idx="24">
                  <c:v>0.2772308065546824</c:v>
                </c:pt>
                <c:pt idx="25">
                  <c:v>0.2774347663860837</c:v>
                </c:pt>
                <c:pt idx="26">
                  <c:v>0.27435837226244697</c:v>
                </c:pt>
                <c:pt idx="27">
                  <c:v>0.27447394950024107</c:v>
                </c:pt>
                <c:pt idx="28">
                  <c:v>0.2746269193737921</c:v>
                </c:pt>
                <c:pt idx="29">
                  <c:v>0.2747424966115862</c:v>
                </c:pt>
                <c:pt idx="30">
                  <c:v>0.27482068121362335</c:v>
                </c:pt>
                <c:pt idx="31">
                  <c:v>0.2747424966115862</c:v>
                </c:pt>
                <c:pt idx="32">
                  <c:v>0.2748784698325204</c:v>
                </c:pt>
                <c:pt idx="33">
                  <c:v>0.2747322986200161</c:v>
                </c:pt>
                <c:pt idx="34">
                  <c:v>0.27485467451885687</c:v>
                </c:pt>
                <c:pt idx="35">
                  <c:v>0.27469490598425916</c:v>
                </c:pt>
                <c:pt idx="36">
                  <c:v>0.27463371803483877</c:v>
                </c:pt>
                <c:pt idx="37">
                  <c:v>0.27477309058629634</c:v>
                </c:pt>
                <c:pt idx="38">
                  <c:v>0.2745623320938483</c:v>
                </c:pt>
                <c:pt idx="39">
                  <c:v>0.27458272807698847</c:v>
                </c:pt>
                <c:pt idx="40">
                  <c:v>0.27445355351710093</c:v>
                </c:pt>
                <c:pt idx="41">
                  <c:v>0.27458952673803516</c:v>
                </c:pt>
                <c:pt idx="42">
                  <c:v>0.2746473153569322</c:v>
                </c:pt>
                <c:pt idx="43">
                  <c:v>0.274769691255773</c:v>
                </c:pt>
                <c:pt idx="44">
                  <c:v>0.2745861274075118</c:v>
                </c:pt>
                <c:pt idx="45">
                  <c:v>0.2747526946031562</c:v>
                </c:pt>
                <c:pt idx="46">
                  <c:v>0.27474929527263287</c:v>
                </c:pt>
                <c:pt idx="47">
                  <c:v>0.27467451000111903</c:v>
                </c:pt>
                <c:pt idx="48">
                  <c:v>0.2746303187043154</c:v>
                </c:pt>
                <c:pt idx="49">
                  <c:v>0.27470510397582926</c:v>
                </c:pt>
                <c:pt idx="50">
                  <c:v>0.2746711106705957</c:v>
                </c:pt>
                <c:pt idx="51">
                  <c:v>0.27465751334850225</c:v>
                </c:pt>
                <c:pt idx="52">
                  <c:v>0.285940475505583</c:v>
                </c:pt>
                <c:pt idx="53">
                  <c:v>0.3059768696542566</c:v>
                </c:pt>
                <c:pt idx="54">
                  <c:v>0.27335555849714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445834501217893"/>
          <c:min val="0.171438553240015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1363542654516967</c:v>
                </c:pt>
                <c:pt idx="1">
                  <c:v>1.12490206589419</c:v>
                </c:pt>
                <c:pt idx="2">
                  <c:v>1.1262680412371133</c:v>
                </c:pt>
                <c:pt idx="3">
                  <c:v>1.1308865979381444</c:v>
                </c:pt>
                <c:pt idx="4">
                  <c:v>1.127989444169553</c:v>
                </c:pt>
                <c:pt idx="5">
                  <c:v>1.1300152571028</c:v>
                </c:pt>
                <c:pt idx="6">
                  <c:v>1.1293913904007917</c:v>
                </c:pt>
                <c:pt idx="7">
                  <c:v>1.1292264555500577</c:v>
                </c:pt>
                <c:pt idx="8">
                  <c:v>1.139298969072165</c:v>
                </c:pt>
                <c:pt idx="9">
                  <c:v>1.1345567010309279</c:v>
                </c:pt>
                <c:pt idx="10">
                  <c:v>1.1282114726380468</c:v>
                </c:pt>
                <c:pt idx="11">
                  <c:v>1.136536082474227</c:v>
                </c:pt>
                <c:pt idx="12">
                  <c:v>1.140689427676068</c:v>
                </c:pt>
                <c:pt idx="13">
                  <c:v>1.1357357852636787</c:v>
                </c:pt>
              </c:numCache>
            </c:numRef>
          </c:xVal>
          <c:yVal>
            <c:numRef>
              <c:f>Sheet1!$B$2:$B$15</c:f>
              <c:numCache>
                <c:formatCode>General</c:formatCode>
                <c:ptCount val="1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5439219132726044</c:v>
                </c:pt>
              </c:numCache>
            </c:numRef>
          </c:xVal>
          <c:yVal>
            <c:numRef>
              <c:f>Sheet1!$B$20:$B$21</c:f>
              <c:numCache>
                <c:formatCode>General</c:formatCode>
                <c:ptCount val="2"/>
                <c:pt idx="0">
                  <c:v>0.05439219132726044</c:v>
                </c:pt>
                <c:pt idx="1">
                  <c:v>0.05439219132726044</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5439219132726044</c:v>
                </c:pt>
                <c:pt idx="1">
                  <c:v>0.05439219132726044</c:v>
                </c:pt>
              </c:numCache>
            </c:numRef>
          </c:xVal>
          <c:yVal>
            <c:numRef>
              <c:f>Sheet1!$B$24:$B$25</c:f>
              <c:numCache>
                <c:formatCode>General</c:formatCode>
                <c:ptCount val="2"/>
                <c:pt idx="0">
                  <c:v>0.054392191327260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5439219132726044</c:v>
                </c:pt>
                <c:pt idx="2">
                  <c:v>0</c:v>
                </c:pt>
              </c:numCache>
            </c:numRef>
          </c:xVal>
          <c:yVal>
            <c:numRef>
              <c:f>Sheet1!$B$28:$B$30</c:f>
              <c:numCache>
                <c:formatCode>General</c:formatCode>
                <c:ptCount val="3"/>
                <c:pt idx="0">
                  <c:v>0</c:v>
                </c:pt>
                <c:pt idx="1">
                  <c:v>0.05439219132726044</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6853101272405783"/>
          <c:min val="0.0383785978496823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pt idx="14">
                  <c:v>0.30519283074599535</c:v>
                </c:pt>
                <c:pt idx="15">
                  <c:v>0.30132207554813073</c:v>
                </c:pt>
                <c:pt idx="16">
                  <c:v>0.29419203662547044</c:v>
                </c:pt>
                <c:pt idx="17">
                  <c:v>0.2980099833610649</c:v>
                </c:pt>
                <c:pt idx="18">
                  <c:v>0.3037604073487924</c:v>
                </c:pt>
                <c:pt idx="19">
                  <c:v>0.3222718113597387</c:v>
                </c:pt>
                <c:pt idx="20">
                  <c:v>0.30424004929540593</c:v>
                </c:pt>
                <c:pt idx="21">
                  <c:v>0.3024987380111055</c:v>
                </c:pt>
                <c:pt idx="22">
                  <c:v>0.2932165815836704</c:v>
                </c:pt>
                <c:pt idx="23">
                  <c:v>0.3012879932882321</c:v>
                </c:pt>
                <c:pt idx="24">
                  <c:v>0.3206353986298276</c:v>
                </c:pt>
                <c:pt idx="25">
                  <c:v>0.3181139572531885</c:v>
                </c:pt>
                <c:pt idx="26">
                  <c:v>0.28773741563131705</c:v>
                </c:pt>
                <c:pt idx="27">
                  <c:v>0.3027053190530197</c:v>
                </c:pt>
                <c:pt idx="28">
                  <c:v>0.3109370118873415</c:v>
                </c:pt>
                <c:pt idx="29">
                  <c:v>0.3041067322017894</c:v>
                </c:pt>
                <c:pt idx="30">
                  <c:v>0.3020382622167113</c:v>
                </c:pt>
                <c:pt idx="31">
                  <c:v>0.3050096276616135</c:v>
                </c:pt>
                <c:pt idx="32">
                  <c:v>0.3001629628725411</c:v>
                </c:pt>
                <c:pt idx="33">
                  <c:v>0.29025647274509747</c:v>
                </c:pt>
                <c:pt idx="34">
                  <c:v>0.29170083602560365</c:v>
                </c:pt>
                <c:pt idx="35">
                  <c:v>0.2961066269659075</c:v>
                </c:pt>
                <c:pt idx="36">
                  <c:v>0.28313576489517406</c:v>
                </c:pt>
                <c:pt idx="37">
                  <c:v>0.3233785146486156</c:v>
                </c:pt>
                <c:pt idx="38">
                  <c:v>0.30253343695987567</c:v>
                </c:pt>
                <c:pt idx="39">
                  <c:v>0.3020828214918505</c:v>
                </c:pt>
                <c:pt idx="40">
                  <c:v>0.30863335234786216</c:v>
                </c:pt>
                <c:pt idx="41">
                  <c:v>0.29148652128539093</c:v>
                </c:pt>
                <c:pt idx="42">
                  <c:v>0.319060988059834</c:v>
                </c:pt>
                <c:pt idx="43">
                  <c:v>0.3129209142344408</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2879371358794948</c:v>
                </c:pt>
                <c:pt idx="1">
                  <c:v>0.2804213839518666</c:v>
                </c:pt>
                <c:pt idx="2">
                  <c:v>0.32528132505538865</c:v>
                </c:pt>
                <c:pt idx="3">
                  <c:v>0.3453819541768158</c:v>
                </c:pt>
                <c:pt idx="4">
                  <c:v>0.21429819155001995</c:v>
                </c:pt>
                <c:pt idx="5">
                  <c:v>0.29945900862044345</c:v>
                </c:pt>
                <c:pt idx="6">
                  <c:v>0.29364977865800934</c:v>
                </c:pt>
                <c:pt idx="7">
                  <c:v>0.2775697597505605</c:v>
                </c:pt>
                <c:pt idx="8">
                  <c:v>0.27256609892215916</c:v>
                </c:pt>
                <c:pt idx="9">
                  <c:v>0.27504210907702986</c:v>
                </c:pt>
                <c:pt idx="10">
                  <c:v>0.2744454377217556</c:v>
                </c:pt>
                <c:pt idx="11">
                  <c:v>0.2801318959763809</c:v>
                </c:pt>
                <c:pt idx="12">
                  <c:v>0.29104210223265414</c:v>
                </c:pt>
                <c:pt idx="13">
                  <c:v>0.27786058347723347</c:v>
                </c:pt>
                <c:pt idx="14">
                  <c:v>0.267031553322221</c:v>
                </c:pt>
                <c:pt idx="15">
                  <c:v>0.2679948188063327</c:v>
                </c:pt>
                <c:pt idx="16">
                  <c:v>0.28056289935211787</c:v>
                </c:pt>
                <c:pt idx="17">
                  <c:v>0.2729132899320325</c:v>
                </c:pt>
                <c:pt idx="18">
                  <c:v>0.2840853563935372</c:v>
                </c:pt>
                <c:pt idx="19">
                  <c:v>0.2860388108045578</c:v>
                </c:pt>
                <c:pt idx="20">
                  <c:v>0.2715300867070865</c:v>
                </c:pt>
                <c:pt idx="21">
                  <c:v>0.2580722718586878</c:v>
                </c:pt>
                <c:pt idx="22">
                  <c:v>0.26209485598056953</c:v>
                </c:pt>
                <c:pt idx="23">
                  <c:v>0.27617596171077236</c:v>
                </c:pt>
                <c:pt idx="24">
                  <c:v>0.2685234920090329</c:v>
                </c:pt>
                <c:pt idx="25">
                  <c:v>0.25891825871551516</c:v>
                </c:pt>
                <c:pt idx="26">
                  <c:v>0.28211270751429546</c:v>
                </c:pt>
                <c:pt idx="27">
                  <c:v>0.2686811739804727</c:v>
                </c:pt>
                <c:pt idx="28">
                  <c:v>0.2738649205610583</c:v>
                </c:pt>
                <c:pt idx="29">
                  <c:v>0.2581772074129992</c:v>
                </c:pt>
                <c:pt idx="30">
                  <c:v>0.27563692514378807</c:v>
                </c:pt>
                <c:pt idx="31">
                  <c:v>0.2649794408910182</c:v>
                </c:pt>
                <c:pt idx="32">
                  <c:v>0.29495817631973503</c:v>
                </c:pt>
                <c:pt idx="33">
                  <c:v>0.2815799724019651</c:v>
                </c:pt>
                <c:pt idx="34">
                  <c:v>0.2677219502187145</c:v>
                </c:pt>
                <c:pt idx="35">
                  <c:v>0.26233906036532195</c:v>
                </c:pt>
                <c:pt idx="36">
                  <c:v>0.27671349807313844</c:v>
                </c:pt>
                <c:pt idx="37">
                  <c:v>0.2863234202276852</c:v>
                </c:pt>
                <c:pt idx="38">
                  <c:v>0.26309286588640085</c:v>
                </c:pt>
                <c:pt idx="39">
                  <c:v>0.2643971510937765</c:v>
                </c:pt>
                <c:pt idx="40">
                  <c:v>0.27714034472955196</c:v>
                </c:pt>
                <c:pt idx="41">
                  <c:v>0.26025490225272846</c:v>
                </c:pt>
                <c:pt idx="42">
                  <c:v>0.2683580660603159</c:v>
                </c:pt>
                <c:pt idx="43">
                  <c:v>0.28428922000376605</c:v>
                </c:pt>
                <c:pt idx="44">
                  <c:v>0.2729921138636471</c:v>
                </c:pt>
                <c:pt idx="45">
                  <c:v>0.2699249910871431</c:v>
                </c:pt>
                <c:pt idx="46">
                  <c:v>0.2745601071572876</c:v>
                </c:pt>
                <c:pt idx="47">
                  <c:v>0.2626631685507377</c:v>
                </c:pt>
                <c:pt idx="48">
                  <c:v>0.27984297388239066</c:v>
                </c:pt>
                <c:pt idx="49">
                  <c:v>0.27570083102493076</c:v>
                </c:pt>
                <c:pt idx="50">
                  <c:v>0.28466412183699974</c:v>
                </c:pt>
                <c:pt idx="51">
                  <c:v>0.278834268919545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130538954555063</c:v>
                </c:pt>
              </c:numCache>
            </c:numRef>
          </c:xVal>
          <c:yVal>
            <c:numRef>
              <c:f>Sheet1!$B$102:$B$103</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130538954555063</c:v>
                </c:pt>
                <c:pt idx="1">
                  <c:v>2.130538954555063</c:v>
                </c:pt>
              </c:numCache>
            </c:numRef>
          </c:xVal>
          <c:yVal>
            <c:numRef>
              <c:f>Sheet1!$B$106:$B$107</c:f>
              <c:numCache>
                <c:formatCode>General</c:formatCode>
                <c:ptCount val="2"/>
                <c:pt idx="0">
                  <c:v>0.30597686965425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5411171842679028</c:v>
                </c:pt>
              </c:numCache>
            </c:numRef>
          </c:xVal>
          <c:yVal>
            <c:numRef>
              <c:f>Sheet1!$B$110:$B$111</c:f>
              <c:numCache>
                <c:formatCode>General</c:formatCode>
                <c:ptCount val="2"/>
                <c:pt idx="0">
                  <c:v>0.285940475505583</c:v>
                </c:pt>
                <c:pt idx="1">
                  <c:v>0.28594047550558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5411171842679028</c:v>
                </c:pt>
                <c:pt idx="1">
                  <c:v>1.5411171842679028</c:v>
                </c:pt>
              </c:numCache>
            </c:numRef>
          </c:xVal>
          <c:yVal>
            <c:numRef>
              <c:f>Sheet1!$B$114:$B$115</c:f>
              <c:numCache>
                <c:formatCode>General</c:formatCode>
                <c:ptCount val="2"/>
                <c:pt idx="0">
                  <c:v>0.285940475505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708996687313329</c:v>
                </c:pt>
              </c:numCache>
            </c:numRef>
          </c:xVal>
          <c:yVal>
            <c:numRef>
              <c:f>Sheet1!$B$118:$B$119</c:f>
              <c:numCache>
                <c:formatCode>General</c:formatCode>
                <c:ptCount val="2"/>
                <c:pt idx="0">
                  <c:v>0.2733555584971401</c:v>
                </c:pt>
                <c:pt idx="1">
                  <c:v>0.273355558497140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708996687313329</c:v>
                </c:pt>
                <c:pt idx="1">
                  <c:v>1.1708996687313329</c:v>
                </c:pt>
              </c:numCache>
            </c:numRef>
          </c:xVal>
          <c:yVal>
            <c:numRef>
              <c:f>Sheet1!$B$122:$B$123</c:f>
              <c:numCache>
                <c:formatCode>General</c:formatCode>
                <c:ptCount val="2"/>
                <c:pt idx="0">
                  <c:v>0.27335555849714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5411171842679028</c:v>
                </c:pt>
                <c:pt idx="53">
                  <c:v>2.130538954555063</c:v>
                </c:pt>
                <c:pt idx="54">
                  <c:v>1.1708996687313329</c:v>
                </c:pt>
              </c:numCache>
            </c:numRef>
          </c:xVal>
          <c:yVal>
            <c:numRef>
              <c:f>Sheet1!$B$126:$B$180</c:f>
              <c:numCache>
                <c:formatCode>General</c:formatCode>
                <c:ptCount val="55"/>
                <c:pt idx="0">
                  <c:v>0.2765169471447776</c:v>
                </c:pt>
                <c:pt idx="1">
                  <c:v>0.2779310686424935</c:v>
                </c:pt>
                <c:pt idx="2">
                  <c:v>0.277495954335504</c:v>
                </c:pt>
                <c:pt idx="3">
                  <c:v>0.2773871757587566</c:v>
                </c:pt>
                <c:pt idx="4">
                  <c:v>0.2787231126544353</c:v>
                </c:pt>
                <c:pt idx="5">
                  <c:v>0.27743476638608355</c:v>
                </c:pt>
                <c:pt idx="6">
                  <c:v>0.2776523235395783</c:v>
                </c:pt>
                <c:pt idx="7">
                  <c:v>0.2778324880573162</c:v>
                </c:pt>
                <c:pt idx="8">
                  <c:v>0.27773730680266223</c:v>
                </c:pt>
                <c:pt idx="9">
                  <c:v>0.27775770278580236</c:v>
                </c:pt>
                <c:pt idx="10">
                  <c:v>0.2777305081416155</c:v>
                </c:pt>
                <c:pt idx="11">
                  <c:v>0.27778149809946584</c:v>
                </c:pt>
                <c:pt idx="12">
                  <c:v>0.27759793425120466</c:v>
                </c:pt>
                <c:pt idx="13">
                  <c:v>0.277448363708177</c:v>
                </c:pt>
                <c:pt idx="14">
                  <c:v>0.2776149309038214</c:v>
                </c:pt>
                <c:pt idx="15">
                  <c:v>0.2776319275564382</c:v>
                </c:pt>
                <c:pt idx="16">
                  <c:v>0.27760473291225135</c:v>
                </c:pt>
                <c:pt idx="17">
                  <c:v>0.27777130010789575</c:v>
                </c:pt>
                <c:pt idx="18">
                  <c:v>0.27769651483638197</c:v>
                </c:pt>
                <c:pt idx="19">
                  <c:v>0.27768291751428853</c:v>
                </c:pt>
                <c:pt idx="20">
                  <c:v>0.2777611021163257</c:v>
                </c:pt>
                <c:pt idx="21">
                  <c:v>0.2777780987689425</c:v>
                </c:pt>
                <c:pt idx="22">
                  <c:v>0.2770336453843276</c:v>
                </c:pt>
                <c:pt idx="23">
                  <c:v>0.27720021257997207</c:v>
                </c:pt>
                <c:pt idx="24">
                  <c:v>0.27723080655468224</c:v>
                </c:pt>
                <c:pt idx="25">
                  <c:v>0.27743476638608355</c:v>
                </c:pt>
                <c:pt idx="26">
                  <c:v>0.27435837226244686</c:v>
                </c:pt>
                <c:pt idx="27">
                  <c:v>0.27447394950024095</c:v>
                </c:pt>
                <c:pt idx="28">
                  <c:v>0.27462691937379197</c:v>
                </c:pt>
                <c:pt idx="29">
                  <c:v>0.27474249661158606</c:v>
                </c:pt>
                <c:pt idx="30">
                  <c:v>0.27482068121362324</c:v>
                </c:pt>
                <c:pt idx="31">
                  <c:v>0.27474249661158606</c:v>
                </c:pt>
                <c:pt idx="32">
                  <c:v>0.2748784698325203</c:v>
                </c:pt>
                <c:pt idx="33">
                  <c:v>0.27473229862001597</c:v>
                </c:pt>
                <c:pt idx="34">
                  <c:v>0.2748546745188568</c:v>
                </c:pt>
                <c:pt idx="35">
                  <c:v>0.27469490598425905</c:v>
                </c:pt>
                <c:pt idx="36">
                  <c:v>0.27463371803483866</c:v>
                </c:pt>
                <c:pt idx="37">
                  <c:v>0.27477309058629623</c:v>
                </c:pt>
                <c:pt idx="38">
                  <c:v>0.2745623320938482</c:v>
                </c:pt>
                <c:pt idx="39">
                  <c:v>0.27458272807698836</c:v>
                </c:pt>
                <c:pt idx="40">
                  <c:v>0.2744535535171008</c:v>
                </c:pt>
                <c:pt idx="41">
                  <c:v>0.27458952673803505</c:v>
                </c:pt>
                <c:pt idx="42">
                  <c:v>0.2746473153569321</c:v>
                </c:pt>
                <c:pt idx="43">
                  <c:v>0.2747696912557729</c:v>
                </c:pt>
                <c:pt idx="44">
                  <c:v>0.2745861274075117</c:v>
                </c:pt>
                <c:pt idx="45">
                  <c:v>0.2747526946031561</c:v>
                </c:pt>
                <c:pt idx="46">
                  <c:v>0.27474929527263275</c:v>
                </c:pt>
                <c:pt idx="47">
                  <c:v>0.2746745100011189</c:v>
                </c:pt>
                <c:pt idx="48">
                  <c:v>0.2746303187043153</c:v>
                </c:pt>
                <c:pt idx="49">
                  <c:v>0.27470510397582915</c:v>
                </c:pt>
                <c:pt idx="50">
                  <c:v>0.2746711106705956</c:v>
                </c:pt>
                <c:pt idx="51">
                  <c:v>0.2746575133485022</c:v>
                </c:pt>
                <c:pt idx="52">
                  <c:v>0.285940475505583</c:v>
                </c:pt>
                <c:pt idx="53">
                  <c:v>0.3059768696542566</c:v>
                </c:pt>
                <c:pt idx="54">
                  <c:v>0.27335555849714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445834501217893"/>
          <c:min val="0.171438553240015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20929327521793273</c:v>
                </c:pt>
                <c:pt idx="1">
                  <c:v>0.20979510828322923</c:v>
                </c:pt>
                <c:pt idx="2">
                  <c:v>0.21004495125415945</c:v>
                </c:pt>
                <c:pt idx="3">
                  <c:v>0.20994668638362454</c:v>
                </c:pt>
                <c:pt idx="4">
                  <c:v>0.21043105964775713</c:v>
                </c:pt>
                <c:pt idx="5">
                  <c:v>0.21025800677121842</c:v>
                </c:pt>
                <c:pt idx="6">
                  <c:v>0.21041978864605024</c:v>
                </c:pt>
                <c:pt idx="7">
                  <c:v>0.2103327495621716</c:v>
                </c:pt>
                <c:pt idx="8">
                  <c:v>0.22623773937412425</c:v>
                </c:pt>
                <c:pt idx="9">
                  <c:v>0.2463029265255293</c:v>
                </c:pt>
                <c:pt idx="10">
                  <c:v>0.24711033274956218</c:v>
                </c:pt>
                <c:pt idx="11">
                  <c:v>0.2470668352952622</c:v>
                </c:pt>
                <c:pt idx="12">
                  <c:v>0.24700823101321245</c:v>
                </c:pt>
                <c:pt idx="13">
                  <c:v>0.24743592238678164</c:v>
                </c:pt>
                <c:pt idx="14">
                  <c:v>0.2471302385306821</c:v>
                </c:pt>
                <c:pt idx="15">
                  <c:v>0.24720259987934692</c:v>
                </c:pt>
                <c:pt idx="16">
                  <c:v>0.2474505682702787</c:v>
                </c:pt>
                <c:pt idx="17">
                  <c:v>0.24725135729436262</c:v>
                </c:pt>
                <c:pt idx="18">
                  <c:v>0.24732417389950567</c:v>
                </c:pt>
                <c:pt idx="19">
                  <c:v>0.24734886073978946</c:v>
                </c:pt>
                <c:pt idx="20">
                  <c:v>0.24730471334604753</c:v>
                </c:pt>
                <c:pt idx="21">
                  <c:v>0.247329610677666</c:v>
                </c:pt>
                <c:pt idx="22">
                  <c:v>0.2491048493811785</c:v>
                </c:pt>
                <c:pt idx="23">
                  <c:v>0.2516004747913059</c:v>
                </c:pt>
                <c:pt idx="24">
                  <c:v>0.25087562266500624</c:v>
                </c:pt>
                <c:pt idx="25">
                  <c:v>0.2519116645588092</c:v>
                </c:pt>
                <c:pt idx="26">
                  <c:v>0.25177084144158174</c:v>
                </c:pt>
                <c:pt idx="27">
                  <c:v>0.25164428877213463</c:v>
                </c:pt>
                <c:pt idx="28">
                  <c:v>0.2515325484090688</c:v>
                </c:pt>
                <c:pt idx="29">
                  <c:v>0.2513671836988888</c:v>
                </c:pt>
                <c:pt idx="30">
                  <c:v>0.25116270018875636</c:v>
                </c:pt>
                <c:pt idx="31">
                  <c:v>0.2515954548992139</c:v>
                </c:pt>
                <c:pt idx="32">
                  <c:v>0.25150819289300586</c:v>
                </c:pt>
                <c:pt idx="33">
                  <c:v>0.2513233691421454</c:v>
                </c:pt>
                <c:pt idx="34">
                  <c:v>0.2512892365773444</c:v>
                </c:pt>
                <c:pt idx="35">
                  <c:v>0.2514303506791733</c:v>
                </c:pt>
                <c:pt idx="36">
                  <c:v>0.25136229176397323</c:v>
                </c:pt>
                <c:pt idx="37">
                  <c:v>0.25144503045754435</c:v>
                </c:pt>
                <c:pt idx="38">
                  <c:v>0.2514936265447115</c:v>
                </c:pt>
                <c:pt idx="39">
                  <c:v>0.2511382651671401</c:v>
                </c:pt>
                <c:pt idx="40">
                  <c:v>0.2511919357035826</c:v>
                </c:pt>
                <c:pt idx="41">
                  <c:v>0.25152729678197594</c:v>
                </c:pt>
                <c:pt idx="42">
                  <c:v>0.2517464827103077</c:v>
                </c:pt>
                <c:pt idx="43">
                  <c:v>0.25232026461718066</c:v>
                </c:pt>
              </c:numCache>
            </c:numRef>
          </c:xVal>
          <c:yVal>
            <c:numRef>
              <c:f>Sheet1!$B$2:$B$45</c:f>
              <c:numCache>
                <c:formatCode>General</c:formatCode>
                <c:ptCount val="4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pt idx="14">
                  <c:v>0.30519283074599535</c:v>
                </c:pt>
                <c:pt idx="15">
                  <c:v>0.30132207554813073</c:v>
                </c:pt>
                <c:pt idx="16">
                  <c:v>0.29419203662547044</c:v>
                </c:pt>
                <c:pt idx="17">
                  <c:v>0.2980099833610649</c:v>
                </c:pt>
                <c:pt idx="18">
                  <c:v>0.3037604073487924</c:v>
                </c:pt>
                <c:pt idx="19">
                  <c:v>0.3222718113597387</c:v>
                </c:pt>
                <c:pt idx="20">
                  <c:v>0.30424004929540593</c:v>
                </c:pt>
                <c:pt idx="21">
                  <c:v>0.3024987380111055</c:v>
                </c:pt>
                <c:pt idx="22">
                  <c:v>0.2932165815836704</c:v>
                </c:pt>
                <c:pt idx="23">
                  <c:v>0.3012879932882321</c:v>
                </c:pt>
                <c:pt idx="24">
                  <c:v>0.3206353986298276</c:v>
                </c:pt>
                <c:pt idx="25">
                  <c:v>0.3181139572531885</c:v>
                </c:pt>
                <c:pt idx="26">
                  <c:v>0.28773741563131705</c:v>
                </c:pt>
                <c:pt idx="27">
                  <c:v>0.3027053190530197</c:v>
                </c:pt>
                <c:pt idx="28">
                  <c:v>0.3109370118873415</c:v>
                </c:pt>
                <c:pt idx="29">
                  <c:v>0.3041067322017894</c:v>
                </c:pt>
                <c:pt idx="30">
                  <c:v>0.3020382622167113</c:v>
                </c:pt>
                <c:pt idx="31">
                  <c:v>0.3050096276616135</c:v>
                </c:pt>
                <c:pt idx="32">
                  <c:v>0.3001629628725411</c:v>
                </c:pt>
                <c:pt idx="33">
                  <c:v>0.29025647274509747</c:v>
                </c:pt>
                <c:pt idx="34">
                  <c:v>0.29170083602560365</c:v>
                </c:pt>
                <c:pt idx="35">
                  <c:v>0.2961066269659075</c:v>
                </c:pt>
                <c:pt idx="36">
                  <c:v>0.28313576489517406</c:v>
                </c:pt>
                <c:pt idx="37">
                  <c:v>0.3233785146486156</c:v>
                </c:pt>
                <c:pt idx="38">
                  <c:v>0.30253343695987567</c:v>
                </c:pt>
                <c:pt idx="39">
                  <c:v>0.3020828214918505</c:v>
                </c:pt>
                <c:pt idx="40">
                  <c:v>0.30863335234786216</c:v>
                </c:pt>
                <c:pt idx="41">
                  <c:v>0.29148652128539093</c:v>
                </c:pt>
                <c:pt idx="42">
                  <c:v>0.319060988059834</c:v>
                </c:pt>
                <c:pt idx="43">
                  <c:v>0.3129209142344408</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24593800470899574</c:v>
                </c:pt>
                <c:pt idx="1">
                  <c:v>0.25404763758075816</c:v>
                </c:pt>
                <c:pt idx="2">
                  <c:v>0.2515518885364572</c:v>
                </c:pt>
                <c:pt idx="3">
                  <c:v>0.25093895343180184</c:v>
                </c:pt>
                <c:pt idx="4">
                  <c:v>0.2586018994239452</c:v>
                </c:pt>
                <c:pt idx="5">
                  <c:v>0.2511722930246133</c:v>
                </c:pt>
                <c:pt idx="6">
                  <c:v>0.25244702173616923</c:v>
                </c:pt>
                <c:pt idx="7">
                  <c:v>0.25353264042975593</c:v>
                </c:pt>
                <c:pt idx="8">
                  <c:v>0.25290889987158033</c:v>
                </c:pt>
                <c:pt idx="9">
                  <c:v>0.2530995153662002</c:v>
                </c:pt>
                <c:pt idx="10">
                  <c:v>0.2528749051427237</c:v>
                </c:pt>
                <c:pt idx="11">
                  <c:v>0.2531372205684935</c:v>
                </c:pt>
                <c:pt idx="12">
                  <c:v>0.2521160469324616</c:v>
                </c:pt>
                <c:pt idx="13">
                  <c:v>0.25131858079834957</c:v>
                </c:pt>
                <c:pt idx="14">
                  <c:v>0.25221333644659777</c:v>
                </c:pt>
                <c:pt idx="15">
                  <c:v>0.2523155354919054</c:v>
                </c:pt>
                <c:pt idx="16">
                  <c:v>0.2521844046159535</c:v>
                </c:pt>
                <c:pt idx="17">
                  <c:v>0.25312810134464575</c:v>
                </c:pt>
                <c:pt idx="18">
                  <c:v>0.2526606611280814</c:v>
                </c:pt>
                <c:pt idx="19">
                  <c:v>0.25262707246828053</c:v>
                </c:pt>
                <c:pt idx="20">
                  <c:v>0.25306972309249065</c:v>
                </c:pt>
                <c:pt idx="21">
                  <c:v>0.253196582527295</c:v>
                </c:pt>
                <c:pt idx="22">
                  <c:v>0.24885698165333955</c:v>
                </c:pt>
                <c:pt idx="23">
                  <c:v>0.24981516790536595</c:v>
                </c:pt>
                <c:pt idx="24">
                  <c:v>0.2499854082764256</c:v>
                </c:pt>
                <c:pt idx="25">
                  <c:v>0.25120161902352645</c:v>
                </c:pt>
                <c:pt idx="26">
                  <c:v>0.2335772104607721</c:v>
                </c:pt>
                <c:pt idx="27">
                  <c:v>0.2342433500029188</c:v>
                </c:pt>
                <c:pt idx="28">
                  <c:v>0.23510526520605515</c:v>
                </c:pt>
                <c:pt idx="29">
                  <c:v>0.23579893747445851</c:v>
                </c:pt>
                <c:pt idx="30">
                  <c:v>0.236209748029964</c:v>
                </c:pt>
                <c:pt idx="31">
                  <c:v>0.23582188314974115</c:v>
                </c:pt>
                <c:pt idx="32">
                  <c:v>0.23652211132512307</c:v>
                </c:pt>
                <c:pt idx="33">
                  <c:v>0.23572679509632224</c:v>
                </c:pt>
                <c:pt idx="34">
                  <c:v>0.23643652214524793</c:v>
                </c:pt>
                <c:pt idx="35">
                  <c:v>0.23551274567036387</c:v>
                </c:pt>
                <c:pt idx="36">
                  <c:v>0.23516705909825059</c:v>
                </c:pt>
                <c:pt idx="37">
                  <c:v>0.23600163484556547</c:v>
                </c:pt>
                <c:pt idx="38">
                  <c:v>0.23476297968397292</c:v>
                </c:pt>
                <c:pt idx="39">
                  <c:v>0.23488888023975402</c:v>
                </c:pt>
                <c:pt idx="40">
                  <c:v>0.23414482262050715</c:v>
                </c:pt>
                <c:pt idx="41">
                  <c:v>0.234863813229572</c:v>
                </c:pt>
                <c:pt idx="42">
                  <c:v>0.2352448967677908</c:v>
                </c:pt>
                <c:pt idx="43">
                  <c:v>0.23594084452228056</c:v>
                </c:pt>
                <c:pt idx="44">
                  <c:v>0.23490834079321216</c:v>
                </c:pt>
                <c:pt idx="45">
                  <c:v>0.2358710882765063</c:v>
                </c:pt>
                <c:pt idx="46">
                  <c:v>0.23583785782396324</c:v>
                </c:pt>
                <c:pt idx="47">
                  <c:v>0.2353730907675844</c:v>
                </c:pt>
                <c:pt idx="48">
                  <c:v>0.23525747104059183</c:v>
                </c:pt>
                <c:pt idx="49">
                  <c:v>0.2355298741220646</c:v>
                </c:pt>
                <c:pt idx="50">
                  <c:v>0.23536279259821374</c:v>
                </c:pt>
                <c:pt idx="51">
                  <c:v>0.23528496098690482</c:v>
                </c:pt>
              </c:numCache>
            </c:numRef>
          </c:xVal>
          <c:yVal>
            <c:numRef>
              <c:f>Sheet1!$B$48:$B$99</c:f>
              <c:numCache>
                <c:formatCode>General</c:formatCode>
                <c:ptCount val="52"/>
                <c:pt idx="0">
                  <c:v>0.2879371358794948</c:v>
                </c:pt>
                <c:pt idx="1">
                  <c:v>0.2804213839518666</c:v>
                </c:pt>
                <c:pt idx="2">
                  <c:v>0.32528132505538865</c:v>
                </c:pt>
                <c:pt idx="3">
                  <c:v>0.3453819541768158</c:v>
                </c:pt>
                <c:pt idx="4">
                  <c:v>0.21429819155001995</c:v>
                </c:pt>
                <c:pt idx="5">
                  <c:v>0.29945900862044345</c:v>
                </c:pt>
                <c:pt idx="6">
                  <c:v>0.29364977865800934</c:v>
                </c:pt>
                <c:pt idx="7">
                  <c:v>0.2775697597505605</c:v>
                </c:pt>
                <c:pt idx="8">
                  <c:v>0.27256609892215916</c:v>
                </c:pt>
                <c:pt idx="9">
                  <c:v>0.27504210907702986</c:v>
                </c:pt>
                <c:pt idx="10">
                  <c:v>0.2744454377217556</c:v>
                </c:pt>
                <c:pt idx="11">
                  <c:v>0.2801318959763809</c:v>
                </c:pt>
                <c:pt idx="12">
                  <c:v>0.29104210223265414</c:v>
                </c:pt>
                <c:pt idx="13">
                  <c:v>0.27786058347723347</c:v>
                </c:pt>
                <c:pt idx="14">
                  <c:v>0.267031553322221</c:v>
                </c:pt>
                <c:pt idx="15">
                  <c:v>0.2679948188063327</c:v>
                </c:pt>
                <c:pt idx="16">
                  <c:v>0.28056289935211787</c:v>
                </c:pt>
                <c:pt idx="17">
                  <c:v>0.2729132899320325</c:v>
                </c:pt>
                <c:pt idx="18">
                  <c:v>0.2840853563935372</c:v>
                </c:pt>
                <c:pt idx="19">
                  <c:v>0.2860388108045578</c:v>
                </c:pt>
                <c:pt idx="20">
                  <c:v>0.2715300867070865</c:v>
                </c:pt>
                <c:pt idx="21">
                  <c:v>0.2580722718586878</c:v>
                </c:pt>
                <c:pt idx="22">
                  <c:v>0.26209485598056953</c:v>
                </c:pt>
                <c:pt idx="23">
                  <c:v>0.27617596171077236</c:v>
                </c:pt>
                <c:pt idx="24">
                  <c:v>0.2685234920090329</c:v>
                </c:pt>
                <c:pt idx="25">
                  <c:v>0.25891825871551516</c:v>
                </c:pt>
                <c:pt idx="26">
                  <c:v>0.28211270751429546</c:v>
                </c:pt>
                <c:pt idx="27">
                  <c:v>0.2686811739804727</c:v>
                </c:pt>
                <c:pt idx="28">
                  <c:v>0.2738649205610583</c:v>
                </c:pt>
                <c:pt idx="29">
                  <c:v>0.2581772074129992</c:v>
                </c:pt>
                <c:pt idx="30">
                  <c:v>0.27563692514378807</c:v>
                </c:pt>
                <c:pt idx="31">
                  <c:v>0.2649794408910182</c:v>
                </c:pt>
                <c:pt idx="32">
                  <c:v>0.29495817631973503</c:v>
                </c:pt>
                <c:pt idx="33">
                  <c:v>0.2815799724019651</c:v>
                </c:pt>
                <c:pt idx="34">
                  <c:v>0.2677219502187145</c:v>
                </c:pt>
                <c:pt idx="35">
                  <c:v>0.26233906036532195</c:v>
                </c:pt>
                <c:pt idx="36">
                  <c:v>0.27671349807313844</c:v>
                </c:pt>
                <c:pt idx="37">
                  <c:v>0.2863234202276852</c:v>
                </c:pt>
                <c:pt idx="38">
                  <c:v>0.26309286588640085</c:v>
                </c:pt>
                <c:pt idx="39">
                  <c:v>0.2643971510937765</c:v>
                </c:pt>
                <c:pt idx="40">
                  <c:v>0.27714034472955196</c:v>
                </c:pt>
                <c:pt idx="41">
                  <c:v>0.26025490225272846</c:v>
                </c:pt>
                <c:pt idx="42">
                  <c:v>0.2683580660603159</c:v>
                </c:pt>
                <c:pt idx="43">
                  <c:v>0.28428922000376605</c:v>
                </c:pt>
                <c:pt idx="44">
                  <c:v>0.2729921138636471</c:v>
                </c:pt>
                <c:pt idx="45">
                  <c:v>0.2699249910871431</c:v>
                </c:pt>
                <c:pt idx="46">
                  <c:v>0.2745601071572876</c:v>
                </c:pt>
                <c:pt idx="47">
                  <c:v>0.2626631685507377</c:v>
                </c:pt>
                <c:pt idx="48">
                  <c:v>0.27984297388239066</c:v>
                </c:pt>
                <c:pt idx="49">
                  <c:v>0.27570083102493076</c:v>
                </c:pt>
                <c:pt idx="50">
                  <c:v>0.28466412183699974</c:v>
                </c:pt>
                <c:pt idx="51">
                  <c:v>0.278834268919545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41491041208765583</c:v>
                </c:pt>
              </c:numCache>
            </c:numRef>
          </c:xVal>
          <c:yVal>
            <c:numRef>
              <c:f>Sheet1!$B$102:$B$103</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41491041208765583</c:v>
                </c:pt>
                <c:pt idx="1">
                  <c:v>0.41491041208765583</c:v>
                </c:pt>
              </c:numCache>
            </c:numRef>
          </c:xVal>
          <c:yVal>
            <c:numRef>
              <c:f>Sheet1!$B$106:$B$107</c:f>
              <c:numCache>
                <c:formatCode>General</c:formatCode>
                <c:ptCount val="2"/>
                <c:pt idx="0">
                  <c:v>0.30597686965425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2999954197600759</c:v>
                </c:pt>
              </c:numCache>
            </c:numRef>
          </c:xVal>
          <c:yVal>
            <c:numRef>
              <c:f>Sheet1!$B$110:$B$111</c:f>
              <c:numCache>
                <c:formatCode>General</c:formatCode>
                <c:ptCount val="2"/>
                <c:pt idx="0">
                  <c:v>0.285940475505583</c:v>
                </c:pt>
                <c:pt idx="1">
                  <c:v>0.28594047550558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2999954197600759</c:v>
                </c:pt>
                <c:pt idx="1">
                  <c:v>0.2999954197600759</c:v>
                </c:pt>
              </c:numCache>
            </c:numRef>
          </c:xVal>
          <c:yVal>
            <c:numRef>
              <c:f>Sheet1!$B$114:$B$115</c:f>
              <c:numCache>
                <c:formatCode>General</c:formatCode>
                <c:ptCount val="2"/>
                <c:pt idx="0">
                  <c:v>0.2859404755055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22781698132762052</c:v>
                </c:pt>
              </c:numCache>
            </c:numRef>
          </c:xVal>
          <c:yVal>
            <c:numRef>
              <c:f>Sheet1!$B$118:$B$119</c:f>
              <c:numCache>
                <c:formatCode>General</c:formatCode>
                <c:ptCount val="2"/>
                <c:pt idx="0">
                  <c:v>0.2733555584971401</c:v>
                </c:pt>
                <c:pt idx="1">
                  <c:v>0.273355558497140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22781698132762052</c:v>
                </c:pt>
                <c:pt idx="1">
                  <c:v>0.22781698132762052</c:v>
                </c:pt>
              </c:numCache>
            </c:numRef>
          </c:xVal>
          <c:yVal>
            <c:numRef>
              <c:f>Sheet1!$B$122:$B$123</c:f>
              <c:numCache>
                <c:formatCode>General</c:formatCode>
                <c:ptCount val="2"/>
                <c:pt idx="0">
                  <c:v>0.273355558497140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24593800470899574</c:v>
                </c:pt>
                <c:pt idx="1">
                  <c:v>0.25404763758075816</c:v>
                </c:pt>
                <c:pt idx="2">
                  <c:v>0.2515518885364572</c:v>
                </c:pt>
                <c:pt idx="3">
                  <c:v>0.25093895343180184</c:v>
                </c:pt>
                <c:pt idx="4">
                  <c:v>0.2586018994239452</c:v>
                </c:pt>
                <c:pt idx="5">
                  <c:v>0.2511722930246133</c:v>
                </c:pt>
                <c:pt idx="6">
                  <c:v>0.25244702173616923</c:v>
                </c:pt>
                <c:pt idx="7">
                  <c:v>0.25353264042975593</c:v>
                </c:pt>
                <c:pt idx="8">
                  <c:v>0.25290889987158033</c:v>
                </c:pt>
                <c:pt idx="9">
                  <c:v>0.2530995153662002</c:v>
                </c:pt>
                <c:pt idx="10">
                  <c:v>0.2528749051427237</c:v>
                </c:pt>
                <c:pt idx="11">
                  <c:v>0.2531372205684935</c:v>
                </c:pt>
                <c:pt idx="12">
                  <c:v>0.2521160469324616</c:v>
                </c:pt>
                <c:pt idx="13">
                  <c:v>0.25131858079834957</c:v>
                </c:pt>
                <c:pt idx="14">
                  <c:v>0.25221333644659777</c:v>
                </c:pt>
                <c:pt idx="15">
                  <c:v>0.2523155354919054</c:v>
                </c:pt>
                <c:pt idx="16">
                  <c:v>0.2521844046159535</c:v>
                </c:pt>
                <c:pt idx="17">
                  <c:v>0.25312810134464575</c:v>
                </c:pt>
                <c:pt idx="18">
                  <c:v>0.2526606611280814</c:v>
                </c:pt>
                <c:pt idx="19">
                  <c:v>0.25262707246828053</c:v>
                </c:pt>
                <c:pt idx="20">
                  <c:v>0.25306972309249065</c:v>
                </c:pt>
                <c:pt idx="21">
                  <c:v>0.253196582527295</c:v>
                </c:pt>
                <c:pt idx="22">
                  <c:v>0.24885698165333955</c:v>
                </c:pt>
                <c:pt idx="23">
                  <c:v>0.24981516790536595</c:v>
                </c:pt>
                <c:pt idx="24">
                  <c:v>0.2499854082764256</c:v>
                </c:pt>
                <c:pt idx="25">
                  <c:v>0.25120161902352645</c:v>
                </c:pt>
                <c:pt idx="26">
                  <c:v>0.2335772104607721</c:v>
                </c:pt>
                <c:pt idx="27">
                  <c:v>0.2342433500029188</c:v>
                </c:pt>
                <c:pt idx="28">
                  <c:v>0.23510526520605515</c:v>
                </c:pt>
                <c:pt idx="29">
                  <c:v>0.23579893747445851</c:v>
                </c:pt>
                <c:pt idx="30">
                  <c:v>0.236209748029964</c:v>
                </c:pt>
                <c:pt idx="31">
                  <c:v>0.23582188314974115</c:v>
                </c:pt>
                <c:pt idx="32">
                  <c:v>0.23652211132512307</c:v>
                </c:pt>
                <c:pt idx="33">
                  <c:v>0.23572679509632224</c:v>
                </c:pt>
                <c:pt idx="34">
                  <c:v>0.23643652214524793</c:v>
                </c:pt>
                <c:pt idx="35">
                  <c:v>0.23551274567036387</c:v>
                </c:pt>
                <c:pt idx="36">
                  <c:v>0.23516705909825059</c:v>
                </c:pt>
                <c:pt idx="37">
                  <c:v>0.23600163484556547</c:v>
                </c:pt>
                <c:pt idx="38">
                  <c:v>0.23476297968397292</c:v>
                </c:pt>
                <c:pt idx="39">
                  <c:v>0.23488888023975402</c:v>
                </c:pt>
                <c:pt idx="40">
                  <c:v>0.23414482262050715</c:v>
                </c:pt>
                <c:pt idx="41">
                  <c:v>0.234863813229572</c:v>
                </c:pt>
                <c:pt idx="42">
                  <c:v>0.2352448967677908</c:v>
                </c:pt>
                <c:pt idx="43">
                  <c:v>0.23594084452228056</c:v>
                </c:pt>
                <c:pt idx="44">
                  <c:v>0.23490834079321216</c:v>
                </c:pt>
                <c:pt idx="45">
                  <c:v>0.2358710882765063</c:v>
                </c:pt>
                <c:pt idx="46">
                  <c:v>0.23583785782396324</c:v>
                </c:pt>
                <c:pt idx="47">
                  <c:v>0.2353730907675844</c:v>
                </c:pt>
                <c:pt idx="48">
                  <c:v>0.23525747104059183</c:v>
                </c:pt>
                <c:pt idx="49">
                  <c:v>0.2355298741220646</c:v>
                </c:pt>
                <c:pt idx="50">
                  <c:v>0.23536279259821374</c:v>
                </c:pt>
                <c:pt idx="51">
                  <c:v>0.23528496098690482</c:v>
                </c:pt>
                <c:pt idx="52">
                  <c:v>0.2999954197600759</c:v>
                </c:pt>
                <c:pt idx="53">
                  <c:v>0.41491041208765583</c:v>
                </c:pt>
                <c:pt idx="54">
                  <c:v>0.22781698132762052</c:v>
                </c:pt>
              </c:numCache>
            </c:numRef>
          </c:xVal>
          <c:yVal>
            <c:numRef>
              <c:f>Sheet1!$B$126:$B$180</c:f>
              <c:numCache>
                <c:formatCode>General</c:formatCode>
                <c:ptCount val="55"/>
                <c:pt idx="0">
                  <c:v>0.2765151111324617</c:v>
                </c:pt>
                <c:pt idx="1">
                  <c:v>0.277929093741071</c:v>
                </c:pt>
                <c:pt idx="2">
                  <c:v>0.2774939389319819</c:v>
                </c:pt>
                <c:pt idx="3">
                  <c:v>0.27738706854809475</c:v>
                </c:pt>
                <c:pt idx="4">
                  <c:v>0.2787231675472654</c:v>
                </c:pt>
                <c:pt idx="5">
                  <c:v>0.27742775326605335</c:v>
                </c:pt>
                <c:pt idx="6">
                  <c:v>0.27765001292408437</c:v>
                </c:pt>
                <c:pt idx="7">
                  <c:v>0.27783929966203985</c:v>
                </c:pt>
                <c:pt idx="8">
                  <c:v>0.27773054525657037</c:v>
                </c:pt>
                <c:pt idx="9">
                  <c:v>0.27776378066914525</c:v>
                </c:pt>
                <c:pt idx="10">
                  <c:v>0.27772461799005316</c:v>
                </c:pt>
                <c:pt idx="11">
                  <c:v>0.2777703548878725</c:v>
                </c:pt>
                <c:pt idx="12">
                  <c:v>0.27759230468701235</c:v>
                </c:pt>
                <c:pt idx="13">
                  <c:v>0.27745325976815843</c:v>
                </c:pt>
                <c:pt idx="14">
                  <c:v>0.27760926793099194</c:v>
                </c:pt>
                <c:pt idx="15">
                  <c:v>0.27762708719296925</c:v>
                </c:pt>
                <c:pt idx="16">
                  <c:v>0.2776042234233042</c:v>
                </c:pt>
                <c:pt idx="17">
                  <c:v>0.2777687648745971</c:v>
                </c:pt>
                <c:pt idx="18">
                  <c:v>0.277687262746543</c:v>
                </c:pt>
                <c:pt idx="19">
                  <c:v>0.27768140628157645</c:v>
                </c:pt>
                <c:pt idx="20">
                  <c:v>0.27775858613598176</c:v>
                </c:pt>
                <c:pt idx="21">
                  <c:v>0.2777807051440044</c:v>
                </c:pt>
                <c:pt idx="22">
                  <c:v>0.27702405928085505</c:v>
                </c:pt>
                <c:pt idx="23">
                  <c:v>0.277191127102247</c:v>
                </c:pt>
                <c:pt idx="24">
                  <c:v>0.27722080994088694</c:v>
                </c:pt>
                <c:pt idx="25">
                  <c:v>0.2774328665002896</c:v>
                </c:pt>
                <c:pt idx="26">
                  <c:v>0.27435990282994477</c:v>
                </c:pt>
                <c:pt idx="27">
                  <c:v>0.2744760498544028</c:v>
                </c:pt>
                <c:pt idx="28">
                  <c:v>0.27462633200978553</c:v>
                </c:pt>
                <c:pt idx="29">
                  <c:v>0.27474727959632944</c:v>
                </c:pt>
                <c:pt idx="30">
                  <c:v>0.2748189078673133</c:v>
                </c:pt>
                <c:pt idx="31">
                  <c:v>0.27475128036754876</c:v>
                </c:pt>
                <c:pt idx="32">
                  <c:v>0.2748733710315412</c:v>
                </c:pt>
                <c:pt idx="33">
                  <c:v>0.2747347009667365</c:v>
                </c:pt>
                <c:pt idx="34">
                  <c:v>0.2748584478391177</c:v>
                </c:pt>
                <c:pt idx="35">
                  <c:v>0.27469737965139784</c:v>
                </c:pt>
                <c:pt idx="36">
                  <c:v>0.27463710629393184</c:v>
                </c:pt>
                <c:pt idx="37">
                  <c:v>0.27478262158555244</c:v>
                </c:pt>
                <c:pt idx="38">
                  <c:v>0.27456665165395977</c:v>
                </c:pt>
                <c:pt idx="39">
                  <c:v>0.27458860347337055</c:v>
                </c:pt>
                <c:pt idx="40">
                  <c:v>0.2744588707776919</c:v>
                </c:pt>
                <c:pt idx="41">
                  <c:v>0.27458423282959327</c:v>
                </c:pt>
                <c:pt idx="42">
                  <c:v>0.27465067794541903</c:v>
                </c:pt>
                <c:pt idx="43">
                  <c:v>0.2747720222820752</c:v>
                </c:pt>
                <c:pt idx="44">
                  <c:v>0.2745919965843262</c:v>
                </c:pt>
                <c:pt idx="45">
                  <c:v>0.27475985969470207</c:v>
                </c:pt>
                <c:pt idx="46">
                  <c:v>0.27475406568617977</c:v>
                </c:pt>
                <c:pt idx="47">
                  <c:v>0.27467302964605733</c:v>
                </c:pt>
                <c:pt idx="48">
                  <c:v>0.27465287037550035</c:v>
                </c:pt>
                <c:pt idx="49">
                  <c:v>0.2747003661408235</c:v>
                </c:pt>
                <c:pt idx="50">
                  <c:v>0.27467123407372734</c:v>
                </c:pt>
                <c:pt idx="51">
                  <c:v>0.2746576634785437</c:v>
                </c:pt>
                <c:pt idx="52">
                  <c:v>0.285940475505583</c:v>
                </c:pt>
                <c:pt idx="53">
                  <c:v>0.3059768696542566</c:v>
                </c:pt>
                <c:pt idx="54">
                  <c:v>0.273355558497140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445834501217893"/>
          <c:min val="0.1714385532400159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pt idx="14">
                  <c:v>0.30519283074599535</c:v>
                </c:pt>
                <c:pt idx="15">
                  <c:v>0.30132207554813073</c:v>
                </c:pt>
                <c:pt idx="16">
                  <c:v>0.29419203662547044</c:v>
                </c:pt>
                <c:pt idx="17">
                  <c:v>0.2980099833610649</c:v>
                </c:pt>
                <c:pt idx="18">
                  <c:v>0.3037604073487924</c:v>
                </c:pt>
                <c:pt idx="19">
                  <c:v>0.3222718113597387</c:v>
                </c:pt>
                <c:pt idx="20">
                  <c:v>0.30424004929540593</c:v>
                </c:pt>
                <c:pt idx="21">
                  <c:v>0.3024987380111055</c:v>
                </c:pt>
                <c:pt idx="22">
                  <c:v>0.2932165815836704</c:v>
                </c:pt>
                <c:pt idx="23">
                  <c:v>0.3012879932882321</c:v>
                </c:pt>
                <c:pt idx="24">
                  <c:v>0.3206353986298276</c:v>
                </c:pt>
                <c:pt idx="25">
                  <c:v>0.3181139572531885</c:v>
                </c:pt>
                <c:pt idx="26">
                  <c:v>0.28773741563131705</c:v>
                </c:pt>
                <c:pt idx="27">
                  <c:v>0.3027053190530197</c:v>
                </c:pt>
                <c:pt idx="28">
                  <c:v>0.3109370118873415</c:v>
                </c:pt>
                <c:pt idx="29">
                  <c:v>0.3041067322017894</c:v>
                </c:pt>
                <c:pt idx="30">
                  <c:v>0.3020382622167113</c:v>
                </c:pt>
                <c:pt idx="31">
                  <c:v>0.3050096276616135</c:v>
                </c:pt>
                <c:pt idx="32">
                  <c:v>0.3001629628725411</c:v>
                </c:pt>
                <c:pt idx="33">
                  <c:v>0.29025647274509747</c:v>
                </c:pt>
                <c:pt idx="34">
                  <c:v>0.29170083602560365</c:v>
                </c:pt>
                <c:pt idx="35">
                  <c:v>0.2961066269659075</c:v>
                </c:pt>
                <c:pt idx="36">
                  <c:v>0.28313576489517406</c:v>
                </c:pt>
                <c:pt idx="37">
                  <c:v>0.3233785146486156</c:v>
                </c:pt>
                <c:pt idx="38">
                  <c:v>0.30253343695987567</c:v>
                </c:pt>
                <c:pt idx="39">
                  <c:v>0.3020828214918505</c:v>
                </c:pt>
                <c:pt idx="40">
                  <c:v>0.30863335234786216</c:v>
                </c:pt>
                <c:pt idx="41">
                  <c:v>0.29148652128539093</c:v>
                </c:pt>
                <c:pt idx="42">
                  <c:v>0.319060988059834</c:v>
                </c:pt>
                <c:pt idx="43">
                  <c:v>0.3129209142344408</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2879371358794948</c:v>
                </c:pt>
                <c:pt idx="1">
                  <c:v>0.2804213839518666</c:v>
                </c:pt>
                <c:pt idx="2">
                  <c:v>0.32528132505538865</c:v>
                </c:pt>
                <c:pt idx="3">
                  <c:v>0.3453819541768158</c:v>
                </c:pt>
                <c:pt idx="4">
                  <c:v>0.21429819155001995</c:v>
                </c:pt>
                <c:pt idx="5">
                  <c:v>0.29945900862044345</c:v>
                </c:pt>
                <c:pt idx="6">
                  <c:v>0.29364977865800934</c:v>
                </c:pt>
                <c:pt idx="7">
                  <c:v>0.2775697597505605</c:v>
                </c:pt>
                <c:pt idx="8">
                  <c:v>0.27256609892215916</c:v>
                </c:pt>
                <c:pt idx="9">
                  <c:v>0.27504210907702986</c:v>
                </c:pt>
                <c:pt idx="10">
                  <c:v>0.2744454377217556</c:v>
                </c:pt>
                <c:pt idx="11">
                  <c:v>0.2801318959763809</c:v>
                </c:pt>
                <c:pt idx="12">
                  <c:v>0.29104210223265414</c:v>
                </c:pt>
                <c:pt idx="13">
                  <c:v>0.27786058347723347</c:v>
                </c:pt>
                <c:pt idx="14">
                  <c:v>0.267031553322221</c:v>
                </c:pt>
                <c:pt idx="15">
                  <c:v>0.2679948188063327</c:v>
                </c:pt>
                <c:pt idx="16">
                  <c:v>0.28056289935211787</c:v>
                </c:pt>
                <c:pt idx="17">
                  <c:v>0.2729132899320325</c:v>
                </c:pt>
                <c:pt idx="18">
                  <c:v>0.2840853563935372</c:v>
                </c:pt>
                <c:pt idx="19">
                  <c:v>0.2860388108045578</c:v>
                </c:pt>
                <c:pt idx="20">
                  <c:v>0.2715300867070865</c:v>
                </c:pt>
                <c:pt idx="21">
                  <c:v>0.2580722718586878</c:v>
                </c:pt>
                <c:pt idx="22">
                  <c:v>0.26209485598056953</c:v>
                </c:pt>
                <c:pt idx="23">
                  <c:v>0.27617596171077236</c:v>
                </c:pt>
                <c:pt idx="24">
                  <c:v>0.2685234920090329</c:v>
                </c:pt>
                <c:pt idx="25">
                  <c:v>0.25891825871551516</c:v>
                </c:pt>
                <c:pt idx="26">
                  <c:v>0.28211270751429546</c:v>
                </c:pt>
                <c:pt idx="27">
                  <c:v>0.2686811739804727</c:v>
                </c:pt>
                <c:pt idx="28">
                  <c:v>0.2738649205610583</c:v>
                </c:pt>
                <c:pt idx="29">
                  <c:v>0.2581772074129992</c:v>
                </c:pt>
                <c:pt idx="30">
                  <c:v>0.27563692514378807</c:v>
                </c:pt>
                <c:pt idx="31">
                  <c:v>0.2649794408910182</c:v>
                </c:pt>
                <c:pt idx="32">
                  <c:v>0.29495817631973503</c:v>
                </c:pt>
                <c:pt idx="33">
                  <c:v>0.2815799724019651</c:v>
                </c:pt>
                <c:pt idx="34">
                  <c:v>0.2677219502187145</c:v>
                </c:pt>
                <c:pt idx="35">
                  <c:v>0.26233906036532195</c:v>
                </c:pt>
                <c:pt idx="36">
                  <c:v>0.27671349807313844</c:v>
                </c:pt>
                <c:pt idx="37">
                  <c:v>0.2863234202276852</c:v>
                </c:pt>
                <c:pt idx="38">
                  <c:v>0.26309286588640085</c:v>
                </c:pt>
                <c:pt idx="39">
                  <c:v>0.2643971510937765</c:v>
                </c:pt>
                <c:pt idx="40">
                  <c:v>0.27714034472955196</c:v>
                </c:pt>
                <c:pt idx="41">
                  <c:v>0.26025490225272846</c:v>
                </c:pt>
                <c:pt idx="42">
                  <c:v>0.2683580660603159</c:v>
                </c:pt>
                <c:pt idx="43">
                  <c:v>0.28428922000376605</c:v>
                </c:pt>
                <c:pt idx="44">
                  <c:v>0.2729921138636471</c:v>
                </c:pt>
                <c:pt idx="45">
                  <c:v>0.2699249910871431</c:v>
                </c:pt>
                <c:pt idx="46">
                  <c:v>0.2745601071572876</c:v>
                </c:pt>
                <c:pt idx="47">
                  <c:v>0.2626631685507377</c:v>
                </c:pt>
                <c:pt idx="48">
                  <c:v>0.27984297388239066</c:v>
                </c:pt>
                <c:pt idx="49">
                  <c:v>0.27570083102493076</c:v>
                </c:pt>
                <c:pt idx="50">
                  <c:v>0.28466412183699974</c:v>
                </c:pt>
                <c:pt idx="51">
                  <c:v>0.278834268919545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130538954555063</c:v>
                </c:pt>
              </c:numCache>
            </c:numRef>
          </c:xVal>
          <c:yVal>
            <c:numRef>
              <c:f>Sheet1!$B$102:$B$103</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130538954555063</c:v>
                </c:pt>
                <c:pt idx="1">
                  <c:v>2.130538954555063</c:v>
                </c:pt>
              </c:numCache>
            </c:numRef>
          </c:xVal>
          <c:yVal>
            <c:numRef>
              <c:f>Sheet1!$B$106:$B$107</c:f>
              <c:numCache>
                <c:formatCode>General</c:formatCode>
                <c:ptCount val="2"/>
                <c:pt idx="0">
                  <c:v>0.30597686965425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5411171842679028</c:v>
                </c:pt>
              </c:numCache>
            </c:numRef>
          </c:xVal>
          <c:yVal>
            <c:numRef>
              <c:f>Sheet1!$B$110:$B$111</c:f>
              <c:numCache>
                <c:formatCode>General</c:formatCode>
                <c:ptCount val="2"/>
                <c:pt idx="0">
                  <c:v>0.285940475505583</c:v>
                </c:pt>
                <c:pt idx="1">
                  <c:v>0.28594047550558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5411171842679028</c:v>
                </c:pt>
                <c:pt idx="1">
                  <c:v>1.5411171842679028</c:v>
                </c:pt>
              </c:numCache>
            </c:numRef>
          </c:xVal>
          <c:yVal>
            <c:numRef>
              <c:f>Sheet1!$B$114:$B$115</c:f>
              <c:numCache>
                <c:formatCode>General</c:formatCode>
                <c:ptCount val="2"/>
                <c:pt idx="0">
                  <c:v>0.2859404755055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708996687313329</c:v>
                </c:pt>
              </c:numCache>
            </c:numRef>
          </c:xVal>
          <c:yVal>
            <c:numRef>
              <c:f>Sheet1!$B$118:$B$119</c:f>
              <c:numCache>
                <c:formatCode>General</c:formatCode>
                <c:ptCount val="2"/>
                <c:pt idx="0">
                  <c:v>0.2733555584971401</c:v>
                </c:pt>
                <c:pt idx="1">
                  <c:v>0.273355558497140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708996687313329</c:v>
                </c:pt>
                <c:pt idx="1">
                  <c:v>1.1708996687313329</c:v>
                </c:pt>
              </c:numCache>
            </c:numRef>
          </c:xVal>
          <c:yVal>
            <c:numRef>
              <c:f>Sheet1!$B$122:$B$123</c:f>
              <c:numCache>
                <c:formatCode>General</c:formatCode>
                <c:ptCount val="2"/>
                <c:pt idx="0">
                  <c:v>0.273355558497140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5411171842679028</c:v>
                </c:pt>
                <c:pt idx="53">
                  <c:v>2.130538954555063</c:v>
                </c:pt>
                <c:pt idx="54">
                  <c:v>1.1708996687313329</c:v>
                </c:pt>
              </c:numCache>
            </c:numRef>
          </c:xVal>
          <c:yVal>
            <c:numRef>
              <c:f>Sheet1!$B$126:$B$180</c:f>
              <c:numCache>
                <c:formatCode>General</c:formatCode>
                <c:ptCount val="55"/>
                <c:pt idx="0">
                  <c:v>0.2765169471447776</c:v>
                </c:pt>
                <c:pt idx="1">
                  <c:v>0.2779310686424935</c:v>
                </c:pt>
                <c:pt idx="2">
                  <c:v>0.277495954335504</c:v>
                </c:pt>
                <c:pt idx="3">
                  <c:v>0.2773871757587566</c:v>
                </c:pt>
                <c:pt idx="4">
                  <c:v>0.2787231126544353</c:v>
                </c:pt>
                <c:pt idx="5">
                  <c:v>0.27743476638608355</c:v>
                </c:pt>
                <c:pt idx="6">
                  <c:v>0.2776523235395783</c:v>
                </c:pt>
                <c:pt idx="7">
                  <c:v>0.2778324880573162</c:v>
                </c:pt>
                <c:pt idx="8">
                  <c:v>0.27773730680266223</c:v>
                </c:pt>
                <c:pt idx="9">
                  <c:v>0.27775770278580236</c:v>
                </c:pt>
                <c:pt idx="10">
                  <c:v>0.2777305081416155</c:v>
                </c:pt>
                <c:pt idx="11">
                  <c:v>0.27778149809946584</c:v>
                </c:pt>
                <c:pt idx="12">
                  <c:v>0.27759793425120466</c:v>
                </c:pt>
                <c:pt idx="13">
                  <c:v>0.277448363708177</c:v>
                </c:pt>
                <c:pt idx="14">
                  <c:v>0.2776149309038214</c:v>
                </c:pt>
                <c:pt idx="15">
                  <c:v>0.2776319275564382</c:v>
                </c:pt>
                <c:pt idx="16">
                  <c:v>0.27760473291225135</c:v>
                </c:pt>
                <c:pt idx="17">
                  <c:v>0.27777130010789575</c:v>
                </c:pt>
                <c:pt idx="18">
                  <c:v>0.27769651483638197</c:v>
                </c:pt>
                <c:pt idx="19">
                  <c:v>0.27768291751428853</c:v>
                </c:pt>
                <c:pt idx="20">
                  <c:v>0.2777611021163257</c:v>
                </c:pt>
                <c:pt idx="21">
                  <c:v>0.2777780987689425</c:v>
                </c:pt>
                <c:pt idx="22">
                  <c:v>0.2770336453843276</c:v>
                </c:pt>
                <c:pt idx="23">
                  <c:v>0.27720021257997207</c:v>
                </c:pt>
                <c:pt idx="24">
                  <c:v>0.27723080655468224</c:v>
                </c:pt>
                <c:pt idx="25">
                  <c:v>0.27743476638608355</c:v>
                </c:pt>
                <c:pt idx="26">
                  <c:v>0.27435837226244686</c:v>
                </c:pt>
                <c:pt idx="27">
                  <c:v>0.27447394950024095</c:v>
                </c:pt>
                <c:pt idx="28">
                  <c:v>0.27462691937379197</c:v>
                </c:pt>
                <c:pt idx="29">
                  <c:v>0.27474249661158606</c:v>
                </c:pt>
                <c:pt idx="30">
                  <c:v>0.27482068121362324</c:v>
                </c:pt>
                <c:pt idx="31">
                  <c:v>0.27474249661158606</c:v>
                </c:pt>
                <c:pt idx="32">
                  <c:v>0.2748784698325203</c:v>
                </c:pt>
                <c:pt idx="33">
                  <c:v>0.27473229862001597</c:v>
                </c:pt>
                <c:pt idx="34">
                  <c:v>0.2748546745188568</c:v>
                </c:pt>
                <c:pt idx="35">
                  <c:v>0.27469490598425905</c:v>
                </c:pt>
                <c:pt idx="36">
                  <c:v>0.27463371803483866</c:v>
                </c:pt>
                <c:pt idx="37">
                  <c:v>0.27477309058629623</c:v>
                </c:pt>
                <c:pt idx="38">
                  <c:v>0.2745623320938482</c:v>
                </c:pt>
                <c:pt idx="39">
                  <c:v>0.27458272807698836</c:v>
                </c:pt>
                <c:pt idx="40">
                  <c:v>0.2744535535171008</c:v>
                </c:pt>
                <c:pt idx="41">
                  <c:v>0.27458952673803505</c:v>
                </c:pt>
                <c:pt idx="42">
                  <c:v>0.2746473153569321</c:v>
                </c:pt>
                <c:pt idx="43">
                  <c:v>0.2747696912557729</c:v>
                </c:pt>
                <c:pt idx="44">
                  <c:v>0.2745861274075117</c:v>
                </c:pt>
                <c:pt idx="45">
                  <c:v>0.2747526946031561</c:v>
                </c:pt>
                <c:pt idx="46">
                  <c:v>0.27474929527263275</c:v>
                </c:pt>
                <c:pt idx="47">
                  <c:v>0.2746745100011189</c:v>
                </c:pt>
                <c:pt idx="48">
                  <c:v>0.2746303187043153</c:v>
                </c:pt>
                <c:pt idx="49">
                  <c:v>0.27470510397582915</c:v>
                </c:pt>
                <c:pt idx="50">
                  <c:v>0.2746711106705956</c:v>
                </c:pt>
                <c:pt idx="51">
                  <c:v>0.2746575133485022</c:v>
                </c:pt>
                <c:pt idx="52">
                  <c:v>0.285940475505583</c:v>
                </c:pt>
                <c:pt idx="53">
                  <c:v>0.3059768696542566</c:v>
                </c:pt>
                <c:pt idx="54">
                  <c:v>0.273355558497140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41445834501217893"/>
          <c:min val="0.1714385532400159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0.4434915268214241</c:v>
                </c:pt>
                <c:pt idx="1">
                  <c:v>0.44460022267123006</c:v>
                </c:pt>
                <c:pt idx="2">
                  <c:v>0.4451134020618557</c:v>
                </c:pt>
                <c:pt idx="3">
                  <c:v>0.4449484536082474</c:v>
                </c:pt>
                <c:pt idx="4">
                  <c:v>0.4458601352465776</c:v>
                </c:pt>
                <c:pt idx="5">
                  <c:v>0.44558987258257393</c:v>
                </c:pt>
                <c:pt idx="6">
                  <c:v>0.44581890153389414</c:v>
                </c:pt>
                <c:pt idx="7">
                  <c:v>0.44569520039584365</c:v>
                </c:pt>
                <c:pt idx="8">
                  <c:v>0.47938144329896915</c:v>
                </c:pt>
                <c:pt idx="9">
                  <c:v>0.521979381443299</c:v>
                </c:pt>
                <c:pt idx="10">
                  <c:v>0.5236916986267475</c:v>
                </c:pt>
                <c:pt idx="11">
                  <c:v>0.5236288659793815</c:v>
                </c:pt>
                <c:pt idx="12">
                  <c:v>0.5234207488042224</c:v>
                </c:pt>
                <c:pt idx="13">
                  <c:v>0.5242238073640375</c:v>
                </c:pt>
              </c:numCache>
            </c:numRef>
          </c:xVal>
          <c:yVal>
            <c:numRef>
              <c:f>Sheet1!$B$2:$B$15</c:f>
              <c:numCache>
                <c:formatCode>General</c:formatCode>
                <c:ptCount val="1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3059768696542566</c:v>
                </c:pt>
              </c:numCache>
            </c:numRef>
          </c:xVal>
          <c:yVal>
            <c:numRef>
              <c:f>Sheet1!$B$20:$B$21</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3059768696542566</c:v>
                </c:pt>
                <c:pt idx="1">
                  <c:v>0.3059768696542566</c:v>
                </c:pt>
              </c:numCache>
            </c:numRef>
          </c:xVal>
          <c:yVal>
            <c:numRef>
              <c:f>Sheet1!$B$24:$B$25</c:f>
              <c:numCache>
                <c:formatCode>General</c:formatCode>
                <c:ptCount val="2"/>
                <c:pt idx="0">
                  <c:v>0.305976869654256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3059768696542566</c:v>
                </c:pt>
                <c:pt idx="2">
                  <c:v>0</c:v>
                </c:pt>
              </c:numCache>
            </c:numRef>
          </c:xVal>
          <c:yVal>
            <c:numRef>
              <c:f>Sheet1!$B$28:$B$30</c:f>
              <c:numCache>
                <c:formatCode>General</c:formatCode>
                <c:ptCount val="3"/>
                <c:pt idx="0">
                  <c:v>0</c:v>
                </c:pt>
                <c:pt idx="1">
                  <c:v>0.305976869654256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388519644724345"/>
          <c:min val="0.2166320580505260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numCache>
            </c:numRef>
          </c:xVal>
          <c:yVal>
            <c:numRef>
              <c:f>Sheet1!$B$2:$B$15</c:f>
              <c:numCache>
                <c:formatCode>General</c:formatCode>
                <c:ptCount val="14"/>
                <c:pt idx="0">
                  <c:v>0.2707900725631575</c:v>
                </c:pt>
                <c:pt idx="1">
                  <c:v>0.3165222311563775</c:v>
                </c:pt>
                <c:pt idx="2">
                  <c:v>0.3141694416957725</c:v>
                </c:pt>
                <c:pt idx="3">
                  <c:v>0.3199043303727029</c:v>
                </c:pt>
                <c:pt idx="4">
                  <c:v>0.30849827248327244</c:v>
                </c:pt>
                <c:pt idx="5">
                  <c:v>0.3167862224548625</c:v>
                </c:pt>
                <c:pt idx="6">
                  <c:v>0.3099054963810487</c:v>
                </c:pt>
                <c:pt idx="7">
                  <c:v>0.28505362602953277</c:v>
                </c:pt>
                <c:pt idx="8">
                  <c:v>0.29385916077474733</c:v>
                </c:pt>
                <c:pt idx="9">
                  <c:v>0.29904905702194856</c:v>
                </c:pt>
                <c:pt idx="10">
                  <c:v>0.30543519728682567</c:v>
                </c:pt>
                <c:pt idx="11">
                  <c:v>0.30690751947741857</c:v>
                </c:pt>
                <c:pt idx="12">
                  <c:v>0.3052566667740811</c:v>
                </c:pt>
                <c:pt idx="13">
                  <c:v>0.30259324343854976</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3059768696542566</c:v>
                </c:pt>
              </c:numCache>
            </c:numRef>
          </c:xVal>
          <c:yVal>
            <c:numRef>
              <c:f>Sheet1!$B$20:$B$21</c:f>
              <c:numCache>
                <c:formatCode>General</c:formatCode>
                <c:ptCount val="2"/>
                <c:pt idx="0">
                  <c:v>0.3059768696542566</c:v>
                </c:pt>
                <c:pt idx="1">
                  <c:v>0.3059768696542566</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3059768696542566</c:v>
                </c:pt>
                <c:pt idx="1">
                  <c:v>0.3059768696542566</c:v>
                </c:pt>
              </c:numCache>
            </c:numRef>
          </c:xVal>
          <c:yVal>
            <c:numRef>
              <c:f>Sheet1!$B$24:$B$25</c:f>
              <c:numCache>
                <c:formatCode>General</c:formatCode>
                <c:ptCount val="2"/>
                <c:pt idx="0">
                  <c:v>0.305976869654256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3059768696542566</c:v>
                </c:pt>
                <c:pt idx="2">
                  <c:v>0</c:v>
                </c:pt>
              </c:numCache>
            </c:numRef>
          </c:xVal>
          <c:yVal>
            <c:numRef>
              <c:f>Sheet1!$B$28:$B$30</c:f>
              <c:numCache>
                <c:formatCode>General</c:formatCode>
                <c:ptCount val="3"/>
                <c:pt idx="0">
                  <c:v>0</c:v>
                </c:pt>
                <c:pt idx="1">
                  <c:v>0.305976869654256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8388519644724345"/>
          <c:min val="0.2166320580505260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3670686409199613</c:v>
                </c:pt>
                <c:pt idx="1">
                  <c:v>1.3670686409199613</c:v>
                </c:pt>
                <c:pt idx="2">
                  <c:v>1.3670177581030885</c:v>
                </c:pt>
                <c:pt idx="3">
                  <c:v>1.3671195237368339</c:v>
                </c:pt>
                <c:pt idx="4">
                  <c:v>1.3670686409199613</c:v>
                </c:pt>
                <c:pt idx="5">
                  <c:v>1.3670686409199613</c:v>
                </c:pt>
                <c:pt idx="6">
                  <c:v>1.3670686409199613</c:v>
                </c:pt>
                <c:pt idx="7">
                  <c:v>1.3671195237368339</c:v>
                </c:pt>
                <c:pt idx="8">
                  <c:v>1.3670686409199613</c:v>
                </c:pt>
                <c:pt idx="9">
                  <c:v>1.3671195237368339</c:v>
                </c:pt>
                <c:pt idx="10">
                  <c:v>1.3670686409199613</c:v>
                </c:pt>
                <c:pt idx="11">
                  <c:v>1.3670686409199613</c:v>
                </c:pt>
                <c:pt idx="12">
                  <c:v>1.3671195237368339</c:v>
                </c:pt>
                <c:pt idx="13">
                  <c:v>1.3670177581030885</c:v>
                </c:pt>
                <c:pt idx="14">
                  <c:v>1.3670177581030885</c:v>
                </c:pt>
                <c:pt idx="15">
                  <c:v>1.3670686409199613</c:v>
                </c:pt>
                <c:pt idx="16">
                  <c:v>1.3670686409199613</c:v>
                </c:pt>
                <c:pt idx="17">
                  <c:v>1.3671195237368339</c:v>
                </c:pt>
                <c:pt idx="18">
                  <c:v>1.3671195237368339</c:v>
                </c:pt>
                <c:pt idx="19">
                  <c:v>1.3670686409199613</c:v>
                </c:pt>
                <c:pt idx="20">
                  <c:v>1.3670686409199613</c:v>
                </c:pt>
                <c:pt idx="21">
                  <c:v>1.3670686409199613</c:v>
                </c:pt>
                <c:pt idx="22">
                  <c:v>1.3670686409199613</c:v>
                </c:pt>
                <c:pt idx="23">
                  <c:v>1.3670686409199613</c:v>
                </c:pt>
                <c:pt idx="24">
                  <c:v>1.3670686409199613</c:v>
                </c:pt>
                <c:pt idx="25">
                  <c:v>1.3670686409199613</c:v>
                </c:pt>
                <c:pt idx="26">
                  <c:v>1.3670686409199613</c:v>
                </c:pt>
                <c:pt idx="27">
                  <c:v>1.3670686409199613</c:v>
                </c:pt>
                <c:pt idx="28">
                  <c:v>1.3670686409199613</c:v>
                </c:pt>
                <c:pt idx="29">
                  <c:v>1.3671195237368339</c:v>
                </c:pt>
                <c:pt idx="30">
                  <c:v>1.3670686409199613</c:v>
                </c:pt>
                <c:pt idx="31">
                  <c:v>1.3670686409199613</c:v>
                </c:pt>
                <c:pt idx="32">
                  <c:v>1.3670686409199613</c:v>
                </c:pt>
                <c:pt idx="33">
                  <c:v>1.3670686409199613</c:v>
                </c:pt>
                <c:pt idx="34">
                  <c:v>1.3671195237368339</c:v>
                </c:pt>
                <c:pt idx="35">
                  <c:v>1.3670686409199613</c:v>
                </c:pt>
                <c:pt idx="36">
                  <c:v>1.3670177581030885</c:v>
                </c:pt>
                <c:pt idx="37">
                  <c:v>1.3670686409199613</c:v>
                </c:pt>
                <c:pt idx="38">
                  <c:v>1.3671195237368339</c:v>
                </c:pt>
                <c:pt idx="39">
                  <c:v>1.3670686409199613</c:v>
                </c:pt>
                <c:pt idx="40">
                  <c:v>1.3670686409199613</c:v>
                </c:pt>
                <c:pt idx="41">
                  <c:v>1.3670686409199613</c:v>
                </c:pt>
                <c:pt idx="42">
                  <c:v>1.3670686409199613</c:v>
                </c:pt>
                <c:pt idx="43">
                  <c:v>1.3671195237368339</c:v>
                </c:pt>
              </c:numCache>
            </c:numRef>
          </c:xVal>
          <c:yVal>
            <c:numRef>
              <c:f>Sheet1!$B$2:$B$45</c:f>
              <c:numCache>
                <c:formatCode>General</c:formatCode>
                <c:ptCount val="4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pt idx="14">
                  <c:v>0.041379586872406254</c:v>
                </c:pt>
                <c:pt idx="15">
                  <c:v>0.04106167788762525</c:v>
                </c:pt>
                <c:pt idx="16">
                  <c:v>0.03436414190981617</c:v>
                </c:pt>
                <c:pt idx="17">
                  <c:v>0.04234276206322796</c:v>
                </c:pt>
                <c:pt idx="18">
                  <c:v>0.04646838230234639</c:v>
                </c:pt>
                <c:pt idx="19">
                  <c:v>0.040409275176526344</c:v>
                </c:pt>
                <c:pt idx="20">
                  <c:v>0.05107149042082328</c:v>
                </c:pt>
                <c:pt idx="21">
                  <c:v>0.04325140559452732</c:v>
                </c:pt>
                <c:pt idx="22">
                  <c:v>0.04152378171569849</c:v>
                </c:pt>
                <c:pt idx="23">
                  <c:v>0.04963283235977087</c:v>
                </c:pt>
                <c:pt idx="24">
                  <c:v>0.048421427251510815</c:v>
                </c:pt>
                <c:pt idx="25">
                  <c:v>0.03915778938769559</c:v>
                </c:pt>
                <c:pt idx="26">
                  <c:v>0.041820193044437876</c:v>
                </c:pt>
                <c:pt idx="27">
                  <c:v>0.03225250277207019</c:v>
                </c:pt>
                <c:pt idx="28">
                  <c:v>0.037433616678449876</c:v>
                </c:pt>
                <c:pt idx="29">
                  <c:v>0.03544712244218386</c:v>
                </c:pt>
                <c:pt idx="30">
                  <c:v>0.03889808977949656</c:v>
                </c:pt>
                <c:pt idx="31">
                  <c:v>0.03974322304033592</c:v>
                </c:pt>
                <c:pt idx="32">
                  <c:v>0.042153673378458385</c:v>
                </c:pt>
                <c:pt idx="33">
                  <c:v>0.02888883965537773</c:v>
                </c:pt>
                <c:pt idx="34">
                  <c:v>0.03931494333848855</c:v>
                </c:pt>
                <c:pt idx="35">
                  <c:v>0.03925023160285476</c:v>
                </c:pt>
                <c:pt idx="36">
                  <c:v>0.045189055063923005</c:v>
                </c:pt>
                <c:pt idx="37">
                  <c:v>0.03676099853031099</c:v>
                </c:pt>
                <c:pt idx="38">
                  <c:v>0.039255802893036526</c:v>
                </c:pt>
                <c:pt idx="39">
                  <c:v>0.04334153243172155</c:v>
                </c:pt>
                <c:pt idx="40">
                  <c:v>0.04097738999662924</c:v>
                </c:pt>
                <c:pt idx="41">
                  <c:v>0.04543560169686784</c:v>
                </c:pt>
                <c:pt idx="42">
                  <c:v>0.04541553849112995</c:v>
                </c:pt>
                <c:pt idx="43">
                  <c:v>0.0469230577503053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3393375057243169</c:v>
                </c:pt>
                <c:pt idx="1">
                  <c:v>1.3801964076731288</c:v>
                </c:pt>
                <c:pt idx="2">
                  <c:v>1.3796875795044012</c:v>
                </c:pt>
                <c:pt idx="3">
                  <c:v>1.3798911107718923</c:v>
                </c:pt>
                <c:pt idx="4">
                  <c:v>1.3801964076731288</c:v>
                </c:pt>
                <c:pt idx="5">
                  <c:v>1.3780593293644736</c:v>
                </c:pt>
                <c:pt idx="6">
                  <c:v>1.3748537119014907</c:v>
                </c:pt>
                <c:pt idx="7">
                  <c:v>1.3815193609118201</c:v>
                </c:pt>
                <c:pt idx="8">
                  <c:v>1.3826387828830202</c:v>
                </c:pt>
                <c:pt idx="9">
                  <c:v>1.37780491528011</c:v>
                </c:pt>
                <c:pt idx="10">
                  <c:v>1.37780491528011</c:v>
                </c:pt>
                <c:pt idx="11">
                  <c:v>1.3771434386607644</c:v>
                </c:pt>
                <c:pt idx="12">
                  <c:v>1.3832493766854934</c:v>
                </c:pt>
                <c:pt idx="13">
                  <c:v>1.3942400651300055</c:v>
                </c:pt>
                <c:pt idx="14">
                  <c:v>1.3670177581030885</c:v>
                </c:pt>
                <c:pt idx="15">
                  <c:v>1.3848776268254208</c:v>
                </c:pt>
                <c:pt idx="16">
                  <c:v>1.3779066809138554</c:v>
                </c:pt>
                <c:pt idx="17">
                  <c:v>1.3722586882409809</c:v>
                </c:pt>
                <c:pt idx="18">
                  <c:v>1.3889482521752403</c:v>
                </c:pt>
                <c:pt idx="19">
                  <c:v>1.3722586882409809</c:v>
                </c:pt>
                <c:pt idx="20">
                  <c:v>1.385844400346003</c:v>
                </c:pt>
                <c:pt idx="21">
                  <c:v>1.3770416730270187</c:v>
                </c:pt>
                <c:pt idx="22">
                  <c:v>1.2501908105632726</c:v>
                </c:pt>
                <c:pt idx="23">
                  <c:v>1.2431689818348344</c:v>
                </c:pt>
                <c:pt idx="24">
                  <c:v>1.2525823029562917</c:v>
                </c:pt>
                <c:pt idx="25">
                  <c:v>1.3564341321935582</c:v>
                </c:pt>
                <c:pt idx="26">
                  <c:v>1.2896758764565206</c:v>
                </c:pt>
                <c:pt idx="27">
                  <c:v>1.2843840635017554</c:v>
                </c:pt>
                <c:pt idx="28">
                  <c:v>1.2935429705388488</c:v>
                </c:pt>
                <c:pt idx="29">
                  <c:v>1.2936447361725947</c:v>
                </c:pt>
                <c:pt idx="30">
                  <c:v>1.2819925711087365</c:v>
                </c:pt>
                <c:pt idx="31">
                  <c:v>1.289167048287793</c:v>
                </c:pt>
                <c:pt idx="32">
                  <c:v>1.2978171271561594</c:v>
                </c:pt>
                <c:pt idx="33">
                  <c:v>1.272070421818552</c:v>
                </c:pt>
                <c:pt idx="34">
                  <c:v>1.30005597109856</c:v>
                </c:pt>
                <c:pt idx="35">
                  <c:v>1.291762071948303</c:v>
                </c:pt>
                <c:pt idx="36">
                  <c:v>1.2792957818144812</c:v>
                </c:pt>
                <c:pt idx="37">
                  <c:v>1.289421462372157</c:v>
                </c:pt>
                <c:pt idx="38">
                  <c:v>1.2897267592733934</c:v>
                </c:pt>
                <c:pt idx="39">
                  <c:v>1.289421462372157</c:v>
                </c:pt>
                <c:pt idx="40">
                  <c:v>1.2850964229379738</c:v>
                </c:pt>
                <c:pt idx="41">
                  <c:v>1.3003612679997965</c:v>
                </c:pt>
                <c:pt idx="42">
                  <c:v>1.2964432911005952</c:v>
                </c:pt>
                <c:pt idx="43">
                  <c:v>1.2916603063145575</c:v>
                </c:pt>
                <c:pt idx="44">
                  <c:v>1.2776166488576808</c:v>
                </c:pt>
                <c:pt idx="45">
                  <c:v>1.304024830814634</c:v>
                </c:pt>
                <c:pt idx="46">
                  <c:v>1.2909988296952117</c:v>
                </c:pt>
                <c:pt idx="47">
                  <c:v>1.2873861496972472</c:v>
                </c:pt>
                <c:pt idx="48">
                  <c:v>1.2897267592733934</c:v>
                </c:pt>
                <c:pt idx="49">
                  <c:v>1.2885564544853203</c:v>
                </c:pt>
                <c:pt idx="50">
                  <c:v>1.2944588612425583</c:v>
                </c:pt>
                <c:pt idx="51">
                  <c:v>1.2784816567445174</c:v>
                </c:pt>
              </c:numCache>
            </c:numRef>
          </c:xVal>
          <c:yVal>
            <c:numRef>
              <c:f>Sheet1!$B$48:$B$99</c:f>
              <c:numCache>
                <c:formatCode>General</c:formatCode>
                <c:ptCount val="52"/>
                <c:pt idx="0">
                  <c:v>0.052444574113537756</c:v>
                </c:pt>
                <c:pt idx="1">
                  <c:v>0.04947877159142628</c:v>
                </c:pt>
                <c:pt idx="2">
                  <c:v>0.04416303570890628</c:v>
                </c:pt>
                <c:pt idx="3">
                  <c:v>0.035376045667904955</c:v>
                </c:pt>
                <c:pt idx="4">
                  <c:v>0.059963613472243736</c:v>
                </c:pt>
                <c:pt idx="5">
                  <c:v>0.04299367605641849</c:v>
                </c:pt>
                <c:pt idx="6">
                  <c:v>0.044188614116374376</c:v>
                </c:pt>
                <c:pt idx="7">
                  <c:v>0.05160104505481855</c:v>
                </c:pt>
                <c:pt idx="8">
                  <c:v>0.04104567553078689</c:v>
                </c:pt>
                <c:pt idx="9">
                  <c:v>0.04504910651314716</c:v>
                </c:pt>
                <c:pt idx="10">
                  <c:v>0.04578392669905107</c:v>
                </c:pt>
                <c:pt idx="11">
                  <c:v>0.04552588713052724</c:v>
                </c:pt>
                <c:pt idx="12">
                  <c:v>0.045973138752937126</c:v>
                </c:pt>
                <c:pt idx="13">
                  <c:v>0.04499863673543579</c:v>
                </c:pt>
                <c:pt idx="14">
                  <c:v>0.0399065911897397</c:v>
                </c:pt>
                <c:pt idx="15">
                  <c:v>0.04561281618342072</c:v>
                </c:pt>
                <c:pt idx="16">
                  <c:v>0.042411115287342406</c:v>
                </c:pt>
                <c:pt idx="17">
                  <c:v>0.043756510941366455</c:v>
                </c:pt>
                <c:pt idx="18">
                  <c:v>0.046910637360024245</c:v>
                </c:pt>
                <c:pt idx="19">
                  <c:v>0.04239400775059286</c:v>
                </c:pt>
                <c:pt idx="20">
                  <c:v>0.04620220693486623</c:v>
                </c:pt>
                <c:pt idx="21">
                  <c:v>0.05230839001234043</c:v>
                </c:pt>
                <c:pt idx="22">
                  <c:v>0.04001183014258949</c:v>
                </c:pt>
                <c:pt idx="23">
                  <c:v>0.04191452481806115</c:v>
                </c:pt>
                <c:pt idx="24">
                  <c:v>0.052393353000233414</c:v>
                </c:pt>
                <c:pt idx="25">
                  <c:v>0.05309177770459896</c:v>
                </c:pt>
                <c:pt idx="26">
                  <c:v>0.04531070565237415</c:v>
                </c:pt>
                <c:pt idx="27">
                  <c:v>0.04474396685900446</c:v>
                </c:pt>
                <c:pt idx="28">
                  <c:v>0.046551552216977994</c:v>
                </c:pt>
                <c:pt idx="29">
                  <c:v>0.044837795707885215</c:v>
                </c:pt>
                <c:pt idx="30">
                  <c:v>0.052715563675790784</c:v>
                </c:pt>
                <c:pt idx="31">
                  <c:v>0.05021546934037982</c:v>
                </c:pt>
                <c:pt idx="32">
                  <c:v>0.05734568284043527</c:v>
                </c:pt>
                <c:pt idx="33">
                  <c:v>0.04607422482434183</c:v>
                </c:pt>
                <c:pt idx="34">
                  <c:v>0.04558176526758644</c:v>
                </c:pt>
                <c:pt idx="35">
                  <c:v>0.041345118767982775</c:v>
                </c:pt>
                <c:pt idx="36">
                  <c:v>0.04582764387302659</c:v>
                </c:pt>
                <c:pt idx="37">
                  <c:v>0.04273351138426002</c:v>
                </c:pt>
                <c:pt idx="38">
                  <c:v>0.04373535092876066</c:v>
                </c:pt>
                <c:pt idx="39">
                  <c:v>0.042127958526127086</c:v>
                </c:pt>
                <c:pt idx="40">
                  <c:v>0.04097613868521445</c:v>
                </c:pt>
                <c:pt idx="41">
                  <c:v>0.04253234667897503</c:v>
                </c:pt>
                <c:pt idx="42">
                  <c:v>0.04351036413831092</c:v>
                </c:pt>
                <c:pt idx="43">
                  <c:v>0.04695861603970139</c:v>
                </c:pt>
                <c:pt idx="44">
                  <c:v>0.04608790898439438</c:v>
                </c:pt>
                <c:pt idx="45">
                  <c:v>0.043318598349324805</c:v>
                </c:pt>
                <c:pt idx="46">
                  <c:v>0.04438918685552032</c:v>
                </c:pt>
                <c:pt idx="47">
                  <c:v>0.04397091718866157</c:v>
                </c:pt>
                <c:pt idx="48">
                  <c:v>0.04709140136155038</c:v>
                </c:pt>
                <c:pt idx="49">
                  <c:v>0.038481994459833795</c:v>
                </c:pt>
                <c:pt idx="50">
                  <c:v>0.05650623745621975</c:v>
                </c:pt>
                <c:pt idx="51">
                  <c:v>0.0492264679051897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6115071829692322</c:v>
                </c:pt>
              </c:numCache>
            </c:numRef>
          </c:xVal>
          <c:yVal>
            <c:numRef>
              <c:f>Sheet1!$B$102:$B$103</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6115071829692322</c:v>
                </c:pt>
                <c:pt idx="1">
                  <c:v>1.6115071829692322</c:v>
                </c:pt>
              </c:numCache>
            </c:numRef>
          </c:xVal>
          <c:yVal>
            <c:numRef>
              <c:f>Sheet1!$B$106:$B$107</c:f>
              <c:numCache>
                <c:formatCode>General</c:formatCode>
                <c:ptCount val="2"/>
                <c:pt idx="0">
                  <c:v>0.0466937193337543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6115071829692322</c:v>
                </c:pt>
              </c:numCache>
            </c:numRef>
          </c:xVal>
          <c:yVal>
            <c:numRef>
              <c:f>Sheet1!$B$110:$B$111</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6115071829692322</c:v>
                </c:pt>
                <c:pt idx="1">
                  <c:v>1.6115071829692322</c:v>
                </c:pt>
              </c:numCache>
            </c:numRef>
          </c:xVal>
          <c:yVal>
            <c:numRef>
              <c:f>Sheet1!$B$114:$B$115</c:f>
              <c:numCache>
                <c:formatCode>General</c:formatCode>
                <c:ptCount val="2"/>
                <c:pt idx="0">
                  <c:v>0.0466937193337543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9933632802908667</c:v>
                </c:pt>
              </c:numCache>
            </c:numRef>
          </c:xVal>
          <c:yVal>
            <c:numRef>
              <c:f>Sheet1!$B$118:$B$119</c:f>
              <c:numCache>
                <c:formatCode>General</c:formatCode>
                <c:ptCount val="2"/>
                <c:pt idx="0">
                  <c:v>0.04501370281761721</c:v>
                </c:pt>
                <c:pt idx="1">
                  <c:v>0.0450137028176172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9933632802908667</c:v>
                </c:pt>
                <c:pt idx="1">
                  <c:v>0.9933632802908667</c:v>
                </c:pt>
              </c:numCache>
            </c:numRef>
          </c:xVal>
          <c:yVal>
            <c:numRef>
              <c:f>Sheet1!$B$122:$B$123</c:f>
              <c:numCache>
                <c:formatCode>General</c:formatCode>
                <c:ptCount val="2"/>
                <c:pt idx="0">
                  <c:v>0.045013702817617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3393375057243169</c:v>
                </c:pt>
                <c:pt idx="1">
                  <c:v>1.3801964076731288</c:v>
                </c:pt>
                <c:pt idx="2">
                  <c:v>1.3796875795044012</c:v>
                </c:pt>
                <c:pt idx="3">
                  <c:v>1.3798911107718923</c:v>
                </c:pt>
                <c:pt idx="4">
                  <c:v>1.3801964076731288</c:v>
                </c:pt>
                <c:pt idx="5">
                  <c:v>1.3780593293644736</c:v>
                </c:pt>
                <c:pt idx="6">
                  <c:v>1.3748537119014907</c:v>
                </c:pt>
                <c:pt idx="7">
                  <c:v>1.3815193609118201</c:v>
                </c:pt>
                <c:pt idx="8">
                  <c:v>1.3826387828830202</c:v>
                </c:pt>
                <c:pt idx="9">
                  <c:v>1.37780491528011</c:v>
                </c:pt>
                <c:pt idx="10">
                  <c:v>1.37780491528011</c:v>
                </c:pt>
                <c:pt idx="11">
                  <c:v>1.3771434386607644</c:v>
                </c:pt>
                <c:pt idx="12">
                  <c:v>1.3832493766854934</c:v>
                </c:pt>
                <c:pt idx="13">
                  <c:v>1.3942400651300055</c:v>
                </c:pt>
                <c:pt idx="14">
                  <c:v>1.3670177581030885</c:v>
                </c:pt>
                <c:pt idx="15">
                  <c:v>1.3848776268254208</c:v>
                </c:pt>
                <c:pt idx="16">
                  <c:v>1.3779066809138554</c:v>
                </c:pt>
                <c:pt idx="17">
                  <c:v>1.3722586882409809</c:v>
                </c:pt>
                <c:pt idx="18">
                  <c:v>1.3889482521752403</c:v>
                </c:pt>
                <c:pt idx="19">
                  <c:v>1.3722586882409809</c:v>
                </c:pt>
                <c:pt idx="20">
                  <c:v>1.385844400346003</c:v>
                </c:pt>
                <c:pt idx="21">
                  <c:v>1.3770416730270187</c:v>
                </c:pt>
                <c:pt idx="22">
                  <c:v>1.2501908105632726</c:v>
                </c:pt>
                <c:pt idx="23">
                  <c:v>1.2431689818348344</c:v>
                </c:pt>
                <c:pt idx="24">
                  <c:v>1.2525823029562917</c:v>
                </c:pt>
                <c:pt idx="25">
                  <c:v>1.3564341321935582</c:v>
                </c:pt>
                <c:pt idx="26">
                  <c:v>1.2896758764565206</c:v>
                </c:pt>
                <c:pt idx="27">
                  <c:v>1.2843840635017554</c:v>
                </c:pt>
                <c:pt idx="28">
                  <c:v>1.2935429705388488</c:v>
                </c:pt>
                <c:pt idx="29">
                  <c:v>1.2936447361725947</c:v>
                </c:pt>
                <c:pt idx="30">
                  <c:v>1.2819925711087365</c:v>
                </c:pt>
                <c:pt idx="31">
                  <c:v>1.289167048287793</c:v>
                </c:pt>
                <c:pt idx="32">
                  <c:v>1.2978171271561594</c:v>
                </c:pt>
                <c:pt idx="33">
                  <c:v>1.272070421818552</c:v>
                </c:pt>
                <c:pt idx="34">
                  <c:v>1.30005597109856</c:v>
                </c:pt>
                <c:pt idx="35">
                  <c:v>1.291762071948303</c:v>
                </c:pt>
                <c:pt idx="36">
                  <c:v>1.2792957818144812</c:v>
                </c:pt>
                <c:pt idx="37">
                  <c:v>1.289421462372157</c:v>
                </c:pt>
                <c:pt idx="38">
                  <c:v>1.2897267592733934</c:v>
                </c:pt>
                <c:pt idx="39">
                  <c:v>1.289421462372157</c:v>
                </c:pt>
                <c:pt idx="40">
                  <c:v>1.2850964229379738</c:v>
                </c:pt>
                <c:pt idx="41">
                  <c:v>1.3003612679997965</c:v>
                </c:pt>
                <c:pt idx="42">
                  <c:v>1.2964432911005952</c:v>
                </c:pt>
                <c:pt idx="43">
                  <c:v>1.2916603063145575</c:v>
                </c:pt>
                <c:pt idx="44">
                  <c:v>1.2776166488576808</c:v>
                </c:pt>
                <c:pt idx="45">
                  <c:v>1.304024830814634</c:v>
                </c:pt>
                <c:pt idx="46">
                  <c:v>1.2909988296952117</c:v>
                </c:pt>
                <c:pt idx="47">
                  <c:v>1.2873861496972472</c:v>
                </c:pt>
                <c:pt idx="48">
                  <c:v>1.2897267592733934</c:v>
                </c:pt>
                <c:pt idx="49">
                  <c:v>1.2885564544853203</c:v>
                </c:pt>
                <c:pt idx="50">
                  <c:v>1.2944588612425583</c:v>
                </c:pt>
                <c:pt idx="51">
                  <c:v>1.2784816567445174</c:v>
                </c:pt>
                <c:pt idx="52">
                  <c:v>1.6115071829692322</c:v>
                </c:pt>
                <c:pt idx="53">
                  <c:v>1.6115071829692322</c:v>
                </c:pt>
                <c:pt idx="54">
                  <c:v>0.9933632802908667</c:v>
                </c:pt>
              </c:numCache>
            </c:numRef>
          </c:xVal>
          <c:yVal>
            <c:numRef>
              <c:f>Sheet1!$B$126:$B$180</c:f>
              <c:numCache>
                <c:formatCode>General</c:formatCode>
                <c:ptCount val="55"/>
                <c:pt idx="0">
                  <c:v>0.045954005569723094</c:v>
                </c:pt>
                <c:pt idx="1">
                  <c:v>0.04606505354707562</c:v>
                </c:pt>
                <c:pt idx="2">
                  <c:v>0.046063670633285425</c:v>
                </c:pt>
                <c:pt idx="3">
                  <c:v>0.046064223798801505</c:v>
                </c:pt>
                <c:pt idx="4">
                  <c:v>0.04606505354707562</c:v>
                </c:pt>
                <c:pt idx="5">
                  <c:v>0.04605924530915681</c:v>
                </c:pt>
                <c:pt idx="6">
                  <c:v>0.04605053295227859</c:v>
                </c:pt>
                <c:pt idx="7">
                  <c:v>0.04606864912293012</c:v>
                </c:pt>
                <c:pt idx="8">
                  <c:v>0.046071691533268545</c:v>
                </c:pt>
                <c:pt idx="9">
                  <c:v>0.04605855385226171</c:v>
                </c:pt>
                <c:pt idx="10">
                  <c:v>0.04605855385226171</c:v>
                </c:pt>
                <c:pt idx="11">
                  <c:v>0.04605675606433446</c:v>
                </c:pt>
                <c:pt idx="12">
                  <c:v>0.04607335102981678</c:v>
                </c:pt>
                <c:pt idx="13">
                  <c:v>0.04610322196768496</c:v>
                </c:pt>
                <c:pt idx="14">
                  <c:v>0.04602923607990961</c:v>
                </c:pt>
                <c:pt idx="15">
                  <c:v>0.0460777763539454</c:v>
                </c:pt>
                <c:pt idx="16">
                  <c:v>0.04605883043501975</c:v>
                </c:pt>
                <c:pt idx="17">
                  <c:v>0.0460434800919486</c:v>
                </c:pt>
                <c:pt idx="18">
                  <c:v>0.046088839664266947</c:v>
                </c:pt>
                <c:pt idx="19">
                  <c:v>0.0460434800919486</c:v>
                </c:pt>
                <c:pt idx="20">
                  <c:v>0.04608040389014677</c:v>
                </c:pt>
                <c:pt idx="21">
                  <c:v>0.04605647948157642</c:v>
                </c:pt>
                <c:pt idx="22">
                  <c:v>0.04571171907368121</c:v>
                </c:pt>
                <c:pt idx="23">
                  <c:v>0.04569263486337655</c:v>
                </c:pt>
                <c:pt idx="24">
                  <c:v>0.04571821876849512</c:v>
                </c:pt>
                <c:pt idx="25">
                  <c:v>0.04600047147307359</c:v>
                </c:pt>
                <c:pt idx="26">
                  <c:v>0.04581903318380022</c:v>
                </c:pt>
                <c:pt idx="27">
                  <c:v>0.04580465088038221</c:v>
                </c:pt>
                <c:pt idx="28">
                  <c:v>0.045829543328605685</c:v>
                </c:pt>
                <c:pt idx="29">
                  <c:v>0.04582981991136373</c:v>
                </c:pt>
                <c:pt idx="30">
                  <c:v>0.0457981511855683</c:v>
                </c:pt>
                <c:pt idx="31">
                  <c:v>0.04581765027001002</c:v>
                </c:pt>
                <c:pt idx="32">
                  <c:v>0.04584115980444331</c:v>
                </c:pt>
                <c:pt idx="33">
                  <c:v>0.04577118436665953</c:v>
                </c:pt>
                <c:pt idx="34">
                  <c:v>0.045847244625120166</c:v>
                </c:pt>
                <c:pt idx="35">
                  <c:v>0.04582470313034001</c:v>
                </c:pt>
                <c:pt idx="36">
                  <c:v>0.045790821742480274</c:v>
                </c:pt>
                <c:pt idx="37">
                  <c:v>0.045818341726905125</c:v>
                </c:pt>
                <c:pt idx="38">
                  <c:v>0.045819171475179235</c:v>
                </c:pt>
                <c:pt idx="39">
                  <c:v>0.045818341726905125</c:v>
                </c:pt>
                <c:pt idx="40">
                  <c:v>0.04580658695968848</c:v>
                </c:pt>
                <c:pt idx="41">
                  <c:v>0.045848074373394276</c:v>
                </c:pt>
                <c:pt idx="42">
                  <c:v>0.04583742593720979</c:v>
                </c:pt>
                <c:pt idx="43">
                  <c:v>0.045824426547581974</c:v>
                </c:pt>
                <c:pt idx="44">
                  <c:v>0.04578625812697264</c:v>
                </c:pt>
                <c:pt idx="45">
                  <c:v>0.045858031352683674</c:v>
                </c:pt>
                <c:pt idx="46">
                  <c:v>0.04582262875965472</c:v>
                </c:pt>
                <c:pt idx="47">
                  <c:v>0.04581281007174435</c:v>
                </c:pt>
                <c:pt idx="48">
                  <c:v>0.045819171475179235</c:v>
                </c:pt>
                <c:pt idx="49">
                  <c:v>0.045815990773461795</c:v>
                </c:pt>
                <c:pt idx="50">
                  <c:v>0.045832032573428036</c:v>
                </c:pt>
                <c:pt idx="51">
                  <c:v>0.045788609080415967</c:v>
                </c:pt>
                <c:pt idx="52">
                  <c:v>0.04669371933375431</c:v>
                </c:pt>
                <c:pt idx="53">
                  <c:v>0.04669371933375431</c:v>
                </c:pt>
                <c:pt idx="54">
                  <c:v>0.045013702817617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195633616669248"/>
          <c:min val="0.0231110717243021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pt idx="14">
                  <c:v>0.041379586872406254</c:v>
                </c:pt>
                <c:pt idx="15">
                  <c:v>0.04106167788762525</c:v>
                </c:pt>
                <c:pt idx="16">
                  <c:v>0.03436414190981617</c:v>
                </c:pt>
                <c:pt idx="17">
                  <c:v>0.04234276206322796</c:v>
                </c:pt>
                <c:pt idx="18">
                  <c:v>0.04646838230234639</c:v>
                </c:pt>
                <c:pt idx="19">
                  <c:v>0.040409275176526344</c:v>
                </c:pt>
                <c:pt idx="20">
                  <c:v>0.05107149042082328</c:v>
                </c:pt>
                <c:pt idx="21">
                  <c:v>0.04325140559452732</c:v>
                </c:pt>
                <c:pt idx="22">
                  <c:v>0.04152378171569849</c:v>
                </c:pt>
                <c:pt idx="23">
                  <c:v>0.04963283235977087</c:v>
                </c:pt>
                <c:pt idx="24">
                  <c:v>0.048421427251510815</c:v>
                </c:pt>
                <c:pt idx="25">
                  <c:v>0.03915778938769559</c:v>
                </c:pt>
                <c:pt idx="26">
                  <c:v>0.041820193044437876</c:v>
                </c:pt>
                <c:pt idx="27">
                  <c:v>0.03225250277207019</c:v>
                </c:pt>
                <c:pt idx="28">
                  <c:v>0.037433616678449876</c:v>
                </c:pt>
                <c:pt idx="29">
                  <c:v>0.03544712244218386</c:v>
                </c:pt>
                <c:pt idx="30">
                  <c:v>0.03889808977949656</c:v>
                </c:pt>
                <c:pt idx="31">
                  <c:v>0.03974322304033592</c:v>
                </c:pt>
                <c:pt idx="32">
                  <c:v>0.042153673378458385</c:v>
                </c:pt>
                <c:pt idx="33">
                  <c:v>0.02888883965537773</c:v>
                </c:pt>
                <c:pt idx="34">
                  <c:v>0.03931494333848855</c:v>
                </c:pt>
                <c:pt idx="35">
                  <c:v>0.03925023160285476</c:v>
                </c:pt>
                <c:pt idx="36">
                  <c:v>0.045189055063923005</c:v>
                </c:pt>
                <c:pt idx="37">
                  <c:v>0.03676099853031099</c:v>
                </c:pt>
                <c:pt idx="38">
                  <c:v>0.039255802893036526</c:v>
                </c:pt>
                <c:pt idx="39">
                  <c:v>0.04334153243172155</c:v>
                </c:pt>
                <c:pt idx="40">
                  <c:v>0.04097738999662924</c:v>
                </c:pt>
                <c:pt idx="41">
                  <c:v>0.04543560169686784</c:v>
                </c:pt>
                <c:pt idx="42">
                  <c:v>0.04541553849112995</c:v>
                </c:pt>
                <c:pt idx="43">
                  <c:v>0.0469230577503053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052444574113537756</c:v>
                </c:pt>
                <c:pt idx="1">
                  <c:v>0.04947877159142628</c:v>
                </c:pt>
                <c:pt idx="2">
                  <c:v>0.04416303570890628</c:v>
                </c:pt>
                <c:pt idx="3">
                  <c:v>0.035376045667904955</c:v>
                </c:pt>
                <c:pt idx="4">
                  <c:v>0.059963613472243736</c:v>
                </c:pt>
                <c:pt idx="5">
                  <c:v>0.04299367605641849</c:v>
                </c:pt>
                <c:pt idx="6">
                  <c:v>0.044188614116374376</c:v>
                </c:pt>
                <c:pt idx="7">
                  <c:v>0.05160104505481855</c:v>
                </c:pt>
                <c:pt idx="8">
                  <c:v>0.04104567553078689</c:v>
                </c:pt>
                <c:pt idx="9">
                  <c:v>0.04504910651314716</c:v>
                </c:pt>
                <c:pt idx="10">
                  <c:v>0.04578392669905107</c:v>
                </c:pt>
                <c:pt idx="11">
                  <c:v>0.04552588713052724</c:v>
                </c:pt>
                <c:pt idx="12">
                  <c:v>0.045973138752937126</c:v>
                </c:pt>
                <c:pt idx="13">
                  <c:v>0.04499863673543579</c:v>
                </c:pt>
                <c:pt idx="14">
                  <c:v>0.0399065911897397</c:v>
                </c:pt>
                <c:pt idx="15">
                  <c:v>0.04561281618342072</c:v>
                </c:pt>
                <c:pt idx="16">
                  <c:v>0.042411115287342406</c:v>
                </c:pt>
                <c:pt idx="17">
                  <c:v>0.043756510941366455</c:v>
                </c:pt>
                <c:pt idx="18">
                  <c:v>0.046910637360024245</c:v>
                </c:pt>
                <c:pt idx="19">
                  <c:v>0.04239400775059286</c:v>
                </c:pt>
                <c:pt idx="20">
                  <c:v>0.04620220693486623</c:v>
                </c:pt>
                <c:pt idx="21">
                  <c:v>0.05230839001234043</c:v>
                </c:pt>
                <c:pt idx="22">
                  <c:v>0.04001183014258949</c:v>
                </c:pt>
                <c:pt idx="23">
                  <c:v>0.04191452481806115</c:v>
                </c:pt>
                <c:pt idx="24">
                  <c:v>0.052393353000233414</c:v>
                </c:pt>
                <c:pt idx="25">
                  <c:v>0.05309177770459896</c:v>
                </c:pt>
                <c:pt idx="26">
                  <c:v>0.04531070565237415</c:v>
                </c:pt>
                <c:pt idx="27">
                  <c:v>0.04474396685900446</c:v>
                </c:pt>
                <c:pt idx="28">
                  <c:v>0.046551552216977994</c:v>
                </c:pt>
                <c:pt idx="29">
                  <c:v>0.044837795707885215</c:v>
                </c:pt>
                <c:pt idx="30">
                  <c:v>0.052715563675790784</c:v>
                </c:pt>
                <c:pt idx="31">
                  <c:v>0.05021546934037982</c:v>
                </c:pt>
                <c:pt idx="32">
                  <c:v>0.05734568284043527</c:v>
                </c:pt>
                <c:pt idx="33">
                  <c:v>0.04607422482434183</c:v>
                </c:pt>
                <c:pt idx="34">
                  <c:v>0.04558176526758644</c:v>
                </c:pt>
                <c:pt idx="35">
                  <c:v>0.041345118767982775</c:v>
                </c:pt>
                <c:pt idx="36">
                  <c:v>0.04582764387302659</c:v>
                </c:pt>
                <c:pt idx="37">
                  <c:v>0.04273351138426002</c:v>
                </c:pt>
                <c:pt idx="38">
                  <c:v>0.04373535092876066</c:v>
                </c:pt>
                <c:pt idx="39">
                  <c:v>0.042127958526127086</c:v>
                </c:pt>
                <c:pt idx="40">
                  <c:v>0.04097613868521445</c:v>
                </c:pt>
                <c:pt idx="41">
                  <c:v>0.04253234667897503</c:v>
                </c:pt>
                <c:pt idx="42">
                  <c:v>0.04351036413831092</c:v>
                </c:pt>
                <c:pt idx="43">
                  <c:v>0.04695861603970139</c:v>
                </c:pt>
                <c:pt idx="44">
                  <c:v>0.04608790898439438</c:v>
                </c:pt>
                <c:pt idx="45">
                  <c:v>0.043318598349324805</c:v>
                </c:pt>
                <c:pt idx="46">
                  <c:v>0.04438918685552032</c:v>
                </c:pt>
                <c:pt idx="47">
                  <c:v>0.04397091718866157</c:v>
                </c:pt>
                <c:pt idx="48">
                  <c:v>0.04709140136155038</c:v>
                </c:pt>
                <c:pt idx="49">
                  <c:v>0.038481994459833795</c:v>
                </c:pt>
                <c:pt idx="50">
                  <c:v>0.05650623745621975</c:v>
                </c:pt>
                <c:pt idx="51">
                  <c:v>0.0492264679051897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3.167095066689381</c:v>
                </c:pt>
              </c:numCache>
            </c:numRef>
          </c:xVal>
          <c:yVal>
            <c:numRef>
              <c:f>Sheet1!$B$102:$B$103</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3.167095066689381</c:v>
                </c:pt>
                <c:pt idx="1">
                  <c:v>3.167095066689381</c:v>
                </c:pt>
              </c:numCache>
            </c:numRef>
          </c:xVal>
          <c:yVal>
            <c:numRef>
              <c:f>Sheet1!$B$106:$B$107</c:f>
              <c:numCache>
                <c:formatCode>General</c:formatCode>
                <c:ptCount val="2"/>
                <c:pt idx="0">
                  <c:v>0.0466937193337543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3.167095066689381</c:v>
                </c:pt>
              </c:numCache>
            </c:numRef>
          </c:xVal>
          <c:yVal>
            <c:numRef>
              <c:f>Sheet1!$B$110:$B$111</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167095066689381</c:v>
                </c:pt>
                <c:pt idx="1">
                  <c:v>3.167095066689381</c:v>
                </c:pt>
              </c:numCache>
            </c:numRef>
          </c:xVal>
          <c:yVal>
            <c:numRef>
              <c:f>Sheet1!$B$114:$B$115</c:f>
              <c:numCache>
                <c:formatCode>General</c:formatCode>
                <c:ptCount val="2"/>
                <c:pt idx="0">
                  <c:v>0.0466937193337543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9522568547556627</c:v>
                </c:pt>
              </c:numCache>
            </c:numRef>
          </c:xVal>
          <c:yVal>
            <c:numRef>
              <c:f>Sheet1!$B$118:$B$119</c:f>
              <c:numCache>
                <c:formatCode>General</c:formatCode>
                <c:ptCount val="2"/>
                <c:pt idx="0">
                  <c:v>0.04501370281761721</c:v>
                </c:pt>
                <c:pt idx="1">
                  <c:v>0.0450137028176172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9522568547556627</c:v>
                </c:pt>
                <c:pt idx="1">
                  <c:v>1.9522568547556627</c:v>
                </c:pt>
              </c:numCache>
            </c:numRef>
          </c:xVal>
          <c:yVal>
            <c:numRef>
              <c:f>Sheet1!$B$122:$B$123</c:f>
              <c:numCache>
                <c:formatCode>General</c:formatCode>
                <c:ptCount val="2"/>
                <c:pt idx="0">
                  <c:v>0.045013702817617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3.167095066689381</c:v>
                </c:pt>
                <c:pt idx="53">
                  <c:v>3.167095066689381</c:v>
                </c:pt>
                <c:pt idx="54">
                  <c:v>1.9522568547556627</c:v>
                </c:pt>
              </c:numCache>
            </c:numRef>
          </c:xVal>
          <c:yVal>
            <c:numRef>
              <c:f>Sheet1!$B$126:$B$180</c:f>
              <c:numCache>
                <c:formatCode>General</c:formatCode>
                <c:ptCount val="55"/>
                <c:pt idx="0">
                  <c:v>0.045954005569723115</c:v>
                </c:pt>
                <c:pt idx="1">
                  <c:v>0.04606505354707565</c:v>
                </c:pt>
                <c:pt idx="2">
                  <c:v>0.04606367063328546</c:v>
                </c:pt>
                <c:pt idx="3">
                  <c:v>0.04606422379880153</c:v>
                </c:pt>
                <c:pt idx="4">
                  <c:v>0.04606505354707565</c:v>
                </c:pt>
                <c:pt idx="5">
                  <c:v>0.04605924530915684</c:v>
                </c:pt>
                <c:pt idx="6">
                  <c:v>0.04605053295227862</c:v>
                </c:pt>
                <c:pt idx="7">
                  <c:v>0.046068649122930155</c:v>
                </c:pt>
                <c:pt idx="8">
                  <c:v>0.04607169153326858</c:v>
                </c:pt>
                <c:pt idx="9">
                  <c:v>0.04605855385226174</c:v>
                </c:pt>
                <c:pt idx="10">
                  <c:v>0.04605855385226174</c:v>
                </c:pt>
                <c:pt idx="11">
                  <c:v>0.04605675606433449</c:v>
                </c:pt>
                <c:pt idx="12">
                  <c:v>0.046073351029816814</c:v>
                </c:pt>
                <c:pt idx="13">
                  <c:v>0.046103221967684994</c:v>
                </c:pt>
                <c:pt idx="14">
                  <c:v>0.04602923607990964</c:v>
                </c:pt>
                <c:pt idx="15">
                  <c:v>0.04607777635394543</c:v>
                </c:pt>
                <c:pt idx="16">
                  <c:v>0.04605883043501978</c:v>
                </c:pt>
                <c:pt idx="17">
                  <c:v>0.046043480091948634</c:v>
                </c:pt>
                <c:pt idx="18">
                  <c:v>0.04608883966426698</c:v>
                </c:pt>
                <c:pt idx="19">
                  <c:v>0.046043480091948634</c:v>
                </c:pt>
                <c:pt idx="20">
                  <c:v>0.0460804038901468</c:v>
                </c:pt>
                <c:pt idx="21">
                  <c:v>0.04605647948157646</c:v>
                </c:pt>
                <c:pt idx="22">
                  <c:v>0.045711719073681226</c:v>
                </c:pt>
                <c:pt idx="23">
                  <c:v>0.045692634863376554</c:v>
                </c:pt>
                <c:pt idx="24">
                  <c:v>0.045718218768495134</c:v>
                </c:pt>
                <c:pt idx="25">
                  <c:v>0.046000471473073616</c:v>
                </c:pt>
                <c:pt idx="26">
                  <c:v>0.045819033183800234</c:v>
                </c:pt>
                <c:pt idx="27">
                  <c:v>0.04580465088038223</c:v>
                </c:pt>
                <c:pt idx="28">
                  <c:v>0.045829543328605706</c:v>
                </c:pt>
                <c:pt idx="29">
                  <c:v>0.04582981991136375</c:v>
                </c:pt>
                <c:pt idx="30">
                  <c:v>0.04579815118556831</c:v>
                </c:pt>
                <c:pt idx="31">
                  <c:v>0.045817650270010044</c:v>
                </c:pt>
                <c:pt idx="32">
                  <c:v>0.04584115980444333</c:v>
                </c:pt>
                <c:pt idx="33">
                  <c:v>0.04577118436665954</c:v>
                </c:pt>
                <c:pt idx="34">
                  <c:v>0.04584724462512019</c:v>
                </c:pt>
                <c:pt idx="35">
                  <c:v>0.04582470313034003</c:v>
                </c:pt>
                <c:pt idx="36">
                  <c:v>0.04579082174248029</c:v>
                </c:pt>
                <c:pt idx="37">
                  <c:v>0.04581834172690514</c:v>
                </c:pt>
                <c:pt idx="38">
                  <c:v>0.045819171475179256</c:v>
                </c:pt>
                <c:pt idx="39">
                  <c:v>0.04581834172690514</c:v>
                </c:pt>
                <c:pt idx="40">
                  <c:v>0.04580658695968849</c:v>
                </c:pt>
                <c:pt idx="41">
                  <c:v>0.0458480743733943</c:v>
                </c:pt>
                <c:pt idx="42">
                  <c:v>0.04583742593720981</c:v>
                </c:pt>
                <c:pt idx="43">
                  <c:v>0.04582442654758199</c:v>
                </c:pt>
                <c:pt idx="44">
                  <c:v>0.04578625812697265</c:v>
                </c:pt>
                <c:pt idx="45">
                  <c:v>0.045858031352683695</c:v>
                </c:pt>
                <c:pt idx="46">
                  <c:v>0.04582262875965474</c:v>
                </c:pt>
                <c:pt idx="47">
                  <c:v>0.04581281007174437</c:v>
                </c:pt>
                <c:pt idx="48">
                  <c:v>0.045819171475179256</c:v>
                </c:pt>
                <c:pt idx="49">
                  <c:v>0.04581599077346181</c:v>
                </c:pt>
                <c:pt idx="50">
                  <c:v>0.04583203257342806</c:v>
                </c:pt>
                <c:pt idx="51">
                  <c:v>0.04578860908041598</c:v>
                </c:pt>
                <c:pt idx="52">
                  <c:v>0.04669371933375431</c:v>
                </c:pt>
                <c:pt idx="53">
                  <c:v>0.04669371933375431</c:v>
                </c:pt>
                <c:pt idx="54">
                  <c:v>0.045013702817617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195633616669248"/>
          <c:min val="0.0231110717243021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227856475716065</c:v>
                </c:pt>
                <c:pt idx="1">
                  <c:v>0.5227754752592765</c:v>
                </c:pt>
                <c:pt idx="2">
                  <c:v>0.5227967074665785</c:v>
                </c:pt>
                <c:pt idx="3">
                  <c:v>0.5227847608670272</c:v>
                </c:pt>
                <c:pt idx="4">
                  <c:v>0.5228568648438261</c:v>
                </c:pt>
                <c:pt idx="5">
                  <c:v>0.5227653033428027</c:v>
                </c:pt>
                <c:pt idx="6">
                  <c:v>0.5228772161999105</c:v>
                </c:pt>
                <c:pt idx="7">
                  <c:v>0.5228254524226502</c:v>
                </c:pt>
                <c:pt idx="8">
                  <c:v>0.5228670403238362</c:v>
                </c:pt>
                <c:pt idx="9">
                  <c:v>0.5228051058530511</c:v>
                </c:pt>
                <c:pt idx="10">
                  <c:v>0.5228059933839269</c:v>
                </c:pt>
                <c:pt idx="11">
                  <c:v>0.5227551318221617</c:v>
                </c:pt>
                <c:pt idx="12">
                  <c:v>0.5228152789398922</c:v>
                </c:pt>
                <c:pt idx="13">
                  <c:v>0.5228577545102465</c:v>
                </c:pt>
                <c:pt idx="14">
                  <c:v>0.5227051636250437</c:v>
                </c:pt>
                <c:pt idx="15">
                  <c:v>0.5228365150719053</c:v>
                </c:pt>
                <c:pt idx="16">
                  <c:v>0.5228670403238362</c:v>
                </c:pt>
                <c:pt idx="17">
                  <c:v>0.5228356263013485</c:v>
                </c:pt>
                <c:pt idx="18">
                  <c:v>0.5228661503133148</c:v>
                </c:pt>
                <c:pt idx="19">
                  <c:v>0.5227754752592765</c:v>
                </c:pt>
                <c:pt idx="20">
                  <c:v>0.5228466897598567</c:v>
                </c:pt>
                <c:pt idx="21">
                  <c:v>0.522734789968286</c:v>
                </c:pt>
                <c:pt idx="22">
                  <c:v>0.5228263407799487</c:v>
                </c:pt>
                <c:pt idx="23">
                  <c:v>0.5227958202798155</c:v>
                </c:pt>
                <c:pt idx="24">
                  <c:v>0.5227856475716065</c:v>
                </c:pt>
                <c:pt idx="25">
                  <c:v>0.5227551318221617</c:v>
                </c:pt>
                <c:pt idx="26">
                  <c:v>0.5228263407799487</c:v>
                </c:pt>
                <c:pt idx="27">
                  <c:v>0.5228059933839269</c:v>
                </c:pt>
                <c:pt idx="28">
                  <c:v>0.5228568648438261</c:v>
                </c:pt>
                <c:pt idx="29">
                  <c:v>0.5228966778895744</c:v>
                </c:pt>
                <c:pt idx="30">
                  <c:v>0.5228161668839636</c:v>
                </c:pt>
                <c:pt idx="31">
                  <c:v>0.5227449606973306</c:v>
                </c:pt>
                <c:pt idx="32">
                  <c:v>0.5228466897598567</c:v>
                </c:pt>
                <c:pt idx="33">
                  <c:v>0.5228670403238362</c:v>
                </c:pt>
                <c:pt idx="34">
                  <c:v>0.5228559752466577</c:v>
                </c:pt>
                <c:pt idx="35">
                  <c:v>0.5228466897598567</c:v>
                </c:pt>
                <c:pt idx="36">
                  <c:v>0.5228475790129223</c:v>
                </c:pt>
                <c:pt idx="37">
                  <c:v>0.5228772161999105</c:v>
                </c:pt>
                <c:pt idx="38">
                  <c:v>0.5228763257760047</c:v>
                </c:pt>
                <c:pt idx="39">
                  <c:v>0.5227653033428027</c:v>
                </c:pt>
                <c:pt idx="40">
                  <c:v>0.5228365150719053</c:v>
                </c:pt>
                <c:pt idx="41">
                  <c:v>0.5227246196350053</c:v>
                </c:pt>
                <c:pt idx="42">
                  <c:v>0.5228161668839636</c:v>
                </c:pt>
                <c:pt idx="43">
                  <c:v>0.5227745889677984</c:v>
                </c:pt>
              </c:numCache>
            </c:numRef>
          </c:xVal>
          <c:yVal>
            <c:numRef>
              <c:f>Sheet1!$B$2:$B$45</c:f>
              <c:numCache>
                <c:formatCode>General</c:formatCode>
                <c:ptCount val="4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pt idx="14">
                  <c:v>0.041379586872406254</c:v>
                </c:pt>
                <c:pt idx="15">
                  <c:v>0.04106167788762525</c:v>
                </c:pt>
                <c:pt idx="16">
                  <c:v>0.03436414190981617</c:v>
                </c:pt>
                <c:pt idx="17">
                  <c:v>0.04234276206322796</c:v>
                </c:pt>
                <c:pt idx="18">
                  <c:v>0.04646838230234639</c:v>
                </c:pt>
                <c:pt idx="19">
                  <c:v>0.040409275176526344</c:v>
                </c:pt>
                <c:pt idx="20">
                  <c:v>0.05107149042082328</c:v>
                </c:pt>
                <c:pt idx="21">
                  <c:v>0.04325140559452732</c:v>
                </c:pt>
                <c:pt idx="22">
                  <c:v>0.04152378171569849</c:v>
                </c:pt>
                <c:pt idx="23">
                  <c:v>0.04963283235977087</c:v>
                </c:pt>
                <c:pt idx="24">
                  <c:v>0.048421427251510815</c:v>
                </c:pt>
                <c:pt idx="25">
                  <c:v>0.03915778938769559</c:v>
                </c:pt>
                <c:pt idx="26">
                  <c:v>0.041820193044437876</c:v>
                </c:pt>
                <c:pt idx="27">
                  <c:v>0.03225250277207019</c:v>
                </c:pt>
                <c:pt idx="28">
                  <c:v>0.037433616678449876</c:v>
                </c:pt>
                <c:pt idx="29">
                  <c:v>0.03544712244218386</c:v>
                </c:pt>
                <c:pt idx="30">
                  <c:v>0.03889808977949656</c:v>
                </c:pt>
                <c:pt idx="31">
                  <c:v>0.03974322304033592</c:v>
                </c:pt>
                <c:pt idx="32">
                  <c:v>0.042153673378458385</c:v>
                </c:pt>
                <c:pt idx="33">
                  <c:v>0.02888883965537773</c:v>
                </c:pt>
                <c:pt idx="34">
                  <c:v>0.03931494333848855</c:v>
                </c:pt>
                <c:pt idx="35">
                  <c:v>0.03925023160285476</c:v>
                </c:pt>
                <c:pt idx="36">
                  <c:v>0.045189055063923005</c:v>
                </c:pt>
                <c:pt idx="37">
                  <c:v>0.03676099853031099</c:v>
                </c:pt>
                <c:pt idx="38">
                  <c:v>0.039255802893036526</c:v>
                </c:pt>
                <c:pt idx="39">
                  <c:v>0.04334153243172155</c:v>
                </c:pt>
                <c:pt idx="40">
                  <c:v>0.04097738999662924</c:v>
                </c:pt>
                <c:pt idx="41">
                  <c:v>0.04543560169686784</c:v>
                </c:pt>
                <c:pt idx="42">
                  <c:v>0.04541553849112995</c:v>
                </c:pt>
                <c:pt idx="43">
                  <c:v>0.0469230577503053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numCache>
            </c:numRef>
          </c:xVal>
          <c:yVal>
            <c:numRef>
              <c:f>Sheet1!$B$48:$B$99</c:f>
              <c:numCache>
                <c:formatCode>General</c:formatCode>
                <c:ptCount val="52"/>
                <c:pt idx="0">
                  <c:v>0.052444574113537756</c:v>
                </c:pt>
                <c:pt idx="1">
                  <c:v>0.04947877159142628</c:v>
                </c:pt>
                <c:pt idx="2">
                  <c:v>0.04416303570890628</c:v>
                </c:pt>
                <c:pt idx="3">
                  <c:v>0.035376045667904955</c:v>
                </c:pt>
                <c:pt idx="4">
                  <c:v>0.059963613472243736</c:v>
                </c:pt>
                <c:pt idx="5">
                  <c:v>0.04299367605641849</c:v>
                </c:pt>
                <c:pt idx="6">
                  <c:v>0.044188614116374376</c:v>
                </c:pt>
                <c:pt idx="7">
                  <c:v>0.05160104505481855</c:v>
                </c:pt>
                <c:pt idx="8">
                  <c:v>0.04104567553078689</c:v>
                </c:pt>
                <c:pt idx="9">
                  <c:v>0.04504910651314716</c:v>
                </c:pt>
                <c:pt idx="10">
                  <c:v>0.04578392669905107</c:v>
                </c:pt>
                <c:pt idx="11">
                  <c:v>0.04552588713052724</c:v>
                </c:pt>
                <c:pt idx="12">
                  <c:v>0.045973138752937126</c:v>
                </c:pt>
                <c:pt idx="13">
                  <c:v>0.04499863673543579</c:v>
                </c:pt>
                <c:pt idx="14">
                  <c:v>0.0399065911897397</c:v>
                </c:pt>
                <c:pt idx="15">
                  <c:v>0.04561281618342072</c:v>
                </c:pt>
                <c:pt idx="16">
                  <c:v>0.042411115287342406</c:v>
                </c:pt>
                <c:pt idx="17">
                  <c:v>0.043756510941366455</c:v>
                </c:pt>
                <c:pt idx="18">
                  <c:v>0.046910637360024245</c:v>
                </c:pt>
                <c:pt idx="19">
                  <c:v>0.04239400775059286</c:v>
                </c:pt>
                <c:pt idx="20">
                  <c:v>0.04620220693486623</c:v>
                </c:pt>
                <c:pt idx="21">
                  <c:v>0.05230839001234043</c:v>
                </c:pt>
                <c:pt idx="22">
                  <c:v>0.04001183014258949</c:v>
                </c:pt>
                <c:pt idx="23">
                  <c:v>0.04191452481806115</c:v>
                </c:pt>
                <c:pt idx="24">
                  <c:v>0.052393353000233414</c:v>
                </c:pt>
                <c:pt idx="25">
                  <c:v>0.05309177770459896</c:v>
                </c:pt>
                <c:pt idx="26">
                  <c:v>0.04531070565237415</c:v>
                </c:pt>
                <c:pt idx="27">
                  <c:v>0.04474396685900446</c:v>
                </c:pt>
                <c:pt idx="28">
                  <c:v>0.046551552216977994</c:v>
                </c:pt>
                <c:pt idx="29">
                  <c:v>0.044837795707885215</c:v>
                </c:pt>
                <c:pt idx="30">
                  <c:v>0.052715563675790784</c:v>
                </c:pt>
                <c:pt idx="31">
                  <c:v>0.05021546934037982</c:v>
                </c:pt>
                <c:pt idx="32">
                  <c:v>0.05734568284043527</c:v>
                </c:pt>
                <c:pt idx="33">
                  <c:v>0.04607422482434183</c:v>
                </c:pt>
                <c:pt idx="34">
                  <c:v>0.04558176526758644</c:v>
                </c:pt>
                <c:pt idx="35">
                  <c:v>0.041345118767982775</c:v>
                </c:pt>
                <c:pt idx="36">
                  <c:v>0.04582764387302659</c:v>
                </c:pt>
                <c:pt idx="37">
                  <c:v>0.04273351138426002</c:v>
                </c:pt>
                <c:pt idx="38">
                  <c:v>0.04373535092876066</c:v>
                </c:pt>
                <c:pt idx="39">
                  <c:v>0.042127958526127086</c:v>
                </c:pt>
                <c:pt idx="40">
                  <c:v>0.04097613868521445</c:v>
                </c:pt>
                <c:pt idx="41">
                  <c:v>0.04253234667897503</c:v>
                </c:pt>
                <c:pt idx="42">
                  <c:v>0.04351036413831092</c:v>
                </c:pt>
                <c:pt idx="43">
                  <c:v>0.04695861603970139</c:v>
                </c:pt>
                <c:pt idx="44">
                  <c:v>0.04608790898439438</c:v>
                </c:pt>
                <c:pt idx="45">
                  <c:v>0.043318598349324805</c:v>
                </c:pt>
                <c:pt idx="46">
                  <c:v>0.04438918685552032</c:v>
                </c:pt>
                <c:pt idx="47">
                  <c:v>0.04397091718866157</c:v>
                </c:pt>
                <c:pt idx="48">
                  <c:v>0.04709140136155038</c:v>
                </c:pt>
                <c:pt idx="49">
                  <c:v>0.038481994459833795</c:v>
                </c:pt>
                <c:pt idx="50">
                  <c:v>0.05650623745621975</c:v>
                </c:pt>
                <c:pt idx="51">
                  <c:v>0.0492264679051897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6153232247177763</c:v>
                </c:pt>
              </c:numCache>
            </c:numRef>
          </c:xVal>
          <c:yVal>
            <c:numRef>
              <c:f>Sheet1!$B$102:$B$103</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6153232247177763</c:v>
                </c:pt>
                <c:pt idx="1">
                  <c:v>0.6153232247177763</c:v>
                </c:pt>
              </c:numCache>
            </c:numRef>
          </c:xVal>
          <c:yVal>
            <c:numRef>
              <c:f>Sheet1!$B$106:$B$107</c:f>
              <c:numCache>
                <c:formatCode>General</c:formatCode>
                <c:ptCount val="2"/>
                <c:pt idx="0">
                  <c:v>0.04669371933375431</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6153232247177763</c:v>
                </c:pt>
              </c:numCache>
            </c:numRef>
          </c:xVal>
          <c:yVal>
            <c:numRef>
              <c:f>Sheet1!$B$110:$B$111</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6153232247177763</c:v>
                </c:pt>
                <c:pt idx="1">
                  <c:v>0.6153232247177763</c:v>
                </c:pt>
              </c:numCache>
            </c:numRef>
          </c:xVal>
          <c:yVal>
            <c:numRef>
              <c:f>Sheet1!$B$114:$B$115</c:f>
              <c:numCache>
                <c:formatCode>General</c:formatCode>
                <c:ptCount val="2"/>
                <c:pt idx="0">
                  <c:v>0.04669371933375431</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38101879002594985</c:v>
                </c:pt>
              </c:numCache>
            </c:numRef>
          </c:xVal>
          <c:yVal>
            <c:numRef>
              <c:f>Sheet1!$B$118:$B$119</c:f>
              <c:numCache>
                <c:formatCode>General</c:formatCode>
                <c:ptCount val="2"/>
                <c:pt idx="0">
                  <c:v>0.04501370281761721</c:v>
                </c:pt>
                <c:pt idx="1">
                  <c:v>0.0450137028176172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38101879002594985</c:v>
                </c:pt>
                <c:pt idx="1">
                  <c:v>0.38101879002594985</c:v>
                </c:pt>
              </c:numCache>
            </c:numRef>
          </c:xVal>
          <c:yVal>
            <c:numRef>
              <c:f>Sheet1!$B$122:$B$123</c:f>
              <c:numCache>
                <c:formatCode>General</c:formatCode>
                <c:ptCount val="2"/>
                <c:pt idx="0">
                  <c:v>0.0450137028176172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pt idx="52">
                  <c:v>0.6153232247177763</c:v>
                </c:pt>
                <c:pt idx="53">
                  <c:v>0.6153232247177763</c:v>
                </c:pt>
                <c:pt idx="54">
                  <c:v>0.38101879002594985</c:v>
                </c:pt>
              </c:numCache>
            </c:numRef>
          </c:xVal>
          <c:yVal>
            <c:numRef>
              <c:f>Sheet1!$B$126:$B$180</c:f>
              <c:numCache>
                <c:formatCode>General</c:formatCode>
                <c:ptCount val="55"/>
                <c:pt idx="0">
                  <c:v>0.045954236565541706</c:v>
                </c:pt>
                <c:pt idx="1">
                  <c:v>0.04606649451842435</c:v>
                </c:pt>
                <c:pt idx="2">
                  <c:v>0.046065025583895566</c:v>
                </c:pt>
                <c:pt idx="3">
                  <c:v>0.046065730967490295</c:v>
                </c:pt>
                <c:pt idx="4">
                  <c:v>0.04606678914584006</c:v>
                </c:pt>
                <c:pt idx="5">
                  <c:v>0.0460601195186016</c:v>
                </c:pt>
                <c:pt idx="6">
                  <c:v>0.046051770377901674</c:v>
                </c:pt>
                <c:pt idx="7">
                  <c:v>0.046070859690266155</c:v>
                </c:pt>
                <c:pt idx="8">
                  <c:v>0.046072749378959686</c:v>
                </c:pt>
                <c:pt idx="9">
                  <c:v>0.04606059837950116</c:v>
                </c:pt>
                <c:pt idx="10">
                  <c:v>0.04605956897030136</c:v>
                </c:pt>
                <c:pt idx="11">
                  <c:v>0.04605731444920295</c:v>
                </c:pt>
                <c:pt idx="12">
                  <c:v>0.04607449735611424</c:v>
                </c:pt>
                <c:pt idx="13">
                  <c:v>0.04610552600409977</c:v>
                </c:pt>
                <c:pt idx="14">
                  <c:v>0.04602999123392444</c:v>
                </c:pt>
                <c:pt idx="15">
                  <c:v>0.046079035808077914</c:v>
                </c:pt>
                <c:pt idx="16">
                  <c:v>0.046060289144819196</c:v>
                </c:pt>
                <c:pt idx="17">
                  <c:v>0.04604465442521022</c:v>
                </c:pt>
                <c:pt idx="18">
                  <c:v>0.04608982693822917</c:v>
                </c:pt>
                <c:pt idx="19">
                  <c:v>0.046044727651327</c:v>
                </c:pt>
                <c:pt idx="20">
                  <c:v>0.04608190853047725</c:v>
                </c:pt>
                <c:pt idx="21">
                  <c:v>0.04605821103369322</c:v>
                </c:pt>
                <c:pt idx="22">
                  <c:v>0.04570925861089654</c:v>
                </c:pt>
                <c:pt idx="23">
                  <c:v>0.04569007373810709</c:v>
                </c:pt>
                <c:pt idx="24">
                  <c:v>0.04571581517378247</c:v>
                </c:pt>
                <c:pt idx="25">
                  <c:v>0.04600126106664076</c:v>
                </c:pt>
                <c:pt idx="26">
                  <c:v>0.04581799325344849</c:v>
                </c:pt>
                <c:pt idx="27">
                  <c:v>0.04580355166714449</c:v>
                </c:pt>
                <c:pt idx="28">
                  <c:v>0.045828458771984146</c:v>
                </c:pt>
                <c:pt idx="29">
                  <c:v>0.045829220982169475</c:v>
                </c:pt>
                <c:pt idx="30">
                  <c:v>0.045796720494082954</c:v>
                </c:pt>
                <c:pt idx="31">
                  <c:v>0.04581728601224445</c:v>
                </c:pt>
                <c:pt idx="32">
                  <c:v>0.045839831863263195</c:v>
                </c:pt>
                <c:pt idx="33">
                  <c:v>0.04576985496267199</c:v>
                </c:pt>
                <c:pt idx="34">
                  <c:v>0.04584673287946066</c:v>
                </c:pt>
                <c:pt idx="35">
                  <c:v>0.045823851435296666</c:v>
                </c:pt>
                <c:pt idx="36">
                  <c:v>0.04578973588467515</c:v>
                </c:pt>
                <c:pt idx="37">
                  <c:v>0.04581805257423497</c:v>
                </c:pt>
                <c:pt idx="38">
                  <c:v>0.04581840804599423</c:v>
                </c:pt>
                <c:pt idx="39">
                  <c:v>0.04581770847838805</c:v>
                </c:pt>
                <c:pt idx="40">
                  <c:v>0.04580577928450936</c:v>
                </c:pt>
                <c:pt idx="41">
                  <c:v>0.04584673757031499</c:v>
                </c:pt>
                <c:pt idx="42">
                  <c:v>0.04583675698383241</c:v>
                </c:pt>
                <c:pt idx="43">
                  <c:v>0.04582357238375855</c:v>
                </c:pt>
                <c:pt idx="44">
                  <c:v>0.04578533598021627</c:v>
                </c:pt>
                <c:pt idx="45">
                  <c:v>0.04585789468025025</c:v>
                </c:pt>
                <c:pt idx="46">
                  <c:v>0.04582196521860801</c:v>
                </c:pt>
                <c:pt idx="47">
                  <c:v>0.04581150878677309</c:v>
                </c:pt>
                <c:pt idx="48">
                  <c:v>0.0458199916931883</c:v>
                </c:pt>
                <c:pt idx="49">
                  <c:v>0.04581444261974745</c:v>
                </c:pt>
                <c:pt idx="50">
                  <c:v>0.045831039101502324</c:v>
                </c:pt>
                <c:pt idx="51">
                  <c:v>0.045787230567434625</c:v>
                </c:pt>
                <c:pt idx="52">
                  <c:v>0.04669371933375431</c:v>
                </c:pt>
                <c:pt idx="53">
                  <c:v>0.04669371933375431</c:v>
                </c:pt>
                <c:pt idx="54">
                  <c:v>0.0450137028176172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195633616669248"/>
          <c:min val="0.02311107172430218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pt idx="14">
                  <c:v>0.041379586872406254</c:v>
                </c:pt>
                <c:pt idx="15">
                  <c:v>0.04106167788762525</c:v>
                </c:pt>
                <c:pt idx="16">
                  <c:v>0.03436414190981617</c:v>
                </c:pt>
                <c:pt idx="17">
                  <c:v>0.04234276206322796</c:v>
                </c:pt>
                <c:pt idx="18">
                  <c:v>0.04646838230234639</c:v>
                </c:pt>
                <c:pt idx="19">
                  <c:v>0.040409275176526344</c:v>
                </c:pt>
                <c:pt idx="20">
                  <c:v>0.05107149042082328</c:v>
                </c:pt>
                <c:pt idx="21">
                  <c:v>0.04325140559452732</c:v>
                </c:pt>
                <c:pt idx="22">
                  <c:v>0.04152378171569849</c:v>
                </c:pt>
                <c:pt idx="23">
                  <c:v>0.04963283235977087</c:v>
                </c:pt>
                <c:pt idx="24">
                  <c:v>0.048421427251510815</c:v>
                </c:pt>
                <c:pt idx="25">
                  <c:v>0.03915778938769559</c:v>
                </c:pt>
                <c:pt idx="26">
                  <c:v>0.041820193044437876</c:v>
                </c:pt>
                <c:pt idx="27">
                  <c:v>0.03225250277207019</c:v>
                </c:pt>
                <c:pt idx="28">
                  <c:v>0.037433616678449876</c:v>
                </c:pt>
                <c:pt idx="29">
                  <c:v>0.03544712244218386</c:v>
                </c:pt>
                <c:pt idx="30">
                  <c:v>0.03889808977949656</c:v>
                </c:pt>
                <c:pt idx="31">
                  <c:v>0.03974322304033592</c:v>
                </c:pt>
                <c:pt idx="32">
                  <c:v>0.042153673378458385</c:v>
                </c:pt>
                <c:pt idx="33">
                  <c:v>0.02888883965537773</c:v>
                </c:pt>
                <c:pt idx="34">
                  <c:v>0.03931494333848855</c:v>
                </c:pt>
                <c:pt idx="35">
                  <c:v>0.03925023160285476</c:v>
                </c:pt>
                <c:pt idx="36">
                  <c:v>0.045189055063923005</c:v>
                </c:pt>
                <c:pt idx="37">
                  <c:v>0.03676099853031099</c:v>
                </c:pt>
                <c:pt idx="38">
                  <c:v>0.039255802893036526</c:v>
                </c:pt>
                <c:pt idx="39">
                  <c:v>0.04334153243172155</c:v>
                </c:pt>
                <c:pt idx="40">
                  <c:v>0.04097738999662924</c:v>
                </c:pt>
                <c:pt idx="41">
                  <c:v>0.04543560169686784</c:v>
                </c:pt>
                <c:pt idx="42">
                  <c:v>0.04541553849112995</c:v>
                </c:pt>
                <c:pt idx="43">
                  <c:v>0.0469230577503053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052444574113537756</c:v>
                </c:pt>
                <c:pt idx="1">
                  <c:v>0.04947877159142628</c:v>
                </c:pt>
                <c:pt idx="2">
                  <c:v>0.04416303570890628</c:v>
                </c:pt>
                <c:pt idx="3">
                  <c:v>0.035376045667904955</c:v>
                </c:pt>
                <c:pt idx="4">
                  <c:v>0.059963613472243736</c:v>
                </c:pt>
                <c:pt idx="5">
                  <c:v>0.04299367605641849</c:v>
                </c:pt>
                <c:pt idx="6">
                  <c:v>0.044188614116374376</c:v>
                </c:pt>
                <c:pt idx="7">
                  <c:v>0.05160104505481855</c:v>
                </c:pt>
                <c:pt idx="8">
                  <c:v>0.04104567553078689</c:v>
                </c:pt>
                <c:pt idx="9">
                  <c:v>0.04504910651314716</c:v>
                </c:pt>
                <c:pt idx="10">
                  <c:v>0.04578392669905107</c:v>
                </c:pt>
                <c:pt idx="11">
                  <c:v>0.04552588713052724</c:v>
                </c:pt>
                <c:pt idx="12">
                  <c:v>0.045973138752937126</c:v>
                </c:pt>
                <c:pt idx="13">
                  <c:v>0.04499863673543579</c:v>
                </c:pt>
                <c:pt idx="14">
                  <c:v>0.0399065911897397</c:v>
                </c:pt>
                <c:pt idx="15">
                  <c:v>0.04561281618342072</c:v>
                </c:pt>
                <c:pt idx="16">
                  <c:v>0.042411115287342406</c:v>
                </c:pt>
                <c:pt idx="17">
                  <c:v>0.043756510941366455</c:v>
                </c:pt>
                <c:pt idx="18">
                  <c:v>0.046910637360024245</c:v>
                </c:pt>
                <c:pt idx="19">
                  <c:v>0.04239400775059286</c:v>
                </c:pt>
                <c:pt idx="20">
                  <c:v>0.04620220693486623</c:v>
                </c:pt>
                <c:pt idx="21">
                  <c:v>0.05230839001234043</c:v>
                </c:pt>
                <c:pt idx="22">
                  <c:v>0.04001183014258949</c:v>
                </c:pt>
                <c:pt idx="23">
                  <c:v>0.04191452481806115</c:v>
                </c:pt>
                <c:pt idx="24">
                  <c:v>0.052393353000233414</c:v>
                </c:pt>
                <c:pt idx="25">
                  <c:v>0.05309177770459896</c:v>
                </c:pt>
                <c:pt idx="26">
                  <c:v>0.04531070565237415</c:v>
                </c:pt>
                <c:pt idx="27">
                  <c:v>0.04474396685900446</c:v>
                </c:pt>
                <c:pt idx="28">
                  <c:v>0.046551552216977994</c:v>
                </c:pt>
                <c:pt idx="29">
                  <c:v>0.044837795707885215</c:v>
                </c:pt>
                <c:pt idx="30">
                  <c:v>0.052715563675790784</c:v>
                </c:pt>
                <c:pt idx="31">
                  <c:v>0.05021546934037982</c:v>
                </c:pt>
                <c:pt idx="32">
                  <c:v>0.05734568284043527</c:v>
                </c:pt>
                <c:pt idx="33">
                  <c:v>0.04607422482434183</c:v>
                </c:pt>
                <c:pt idx="34">
                  <c:v>0.04558176526758644</c:v>
                </c:pt>
                <c:pt idx="35">
                  <c:v>0.041345118767982775</c:v>
                </c:pt>
                <c:pt idx="36">
                  <c:v>0.04582764387302659</c:v>
                </c:pt>
                <c:pt idx="37">
                  <c:v>0.04273351138426002</c:v>
                </c:pt>
                <c:pt idx="38">
                  <c:v>0.04373535092876066</c:v>
                </c:pt>
                <c:pt idx="39">
                  <c:v>0.042127958526127086</c:v>
                </c:pt>
                <c:pt idx="40">
                  <c:v>0.04097613868521445</c:v>
                </c:pt>
                <c:pt idx="41">
                  <c:v>0.04253234667897503</c:v>
                </c:pt>
                <c:pt idx="42">
                  <c:v>0.04351036413831092</c:v>
                </c:pt>
                <c:pt idx="43">
                  <c:v>0.04695861603970139</c:v>
                </c:pt>
                <c:pt idx="44">
                  <c:v>0.04608790898439438</c:v>
                </c:pt>
                <c:pt idx="45">
                  <c:v>0.043318598349324805</c:v>
                </c:pt>
                <c:pt idx="46">
                  <c:v>0.04438918685552032</c:v>
                </c:pt>
                <c:pt idx="47">
                  <c:v>0.04397091718866157</c:v>
                </c:pt>
                <c:pt idx="48">
                  <c:v>0.04709140136155038</c:v>
                </c:pt>
                <c:pt idx="49">
                  <c:v>0.038481994459833795</c:v>
                </c:pt>
                <c:pt idx="50">
                  <c:v>0.05650623745621975</c:v>
                </c:pt>
                <c:pt idx="51">
                  <c:v>0.0492264679051897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3.167095066689381</c:v>
                </c:pt>
              </c:numCache>
            </c:numRef>
          </c:xVal>
          <c:yVal>
            <c:numRef>
              <c:f>Sheet1!$B$102:$B$103</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3.167095066689381</c:v>
                </c:pt>
                <c:pt idx="1">
                  <c:v>3.167095066689381</c:v>
                </c:pt>
              </c:numCache>
            </c:numRef>
          </c:xVal>
          <c:yVal>
            <c:numRef>
              <c:f>Sheet1!$B$106:$B$107</c:f>
              <c:numCache>
                <c:formatCode>General</c:formatCode>
                <c:ptCount val="2"/>
                <c:pt idx="0">
                  <c:v>0.04669371933375431</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3.167095066689381</c:v>
                </c:pt>
              </c:numCache>
            </c:numRef>
          </c:xVal>
          <c:yVal>
            <c:numRef>
              <c:f>Sheet1!$B$110:$B$111</c:f>
              <c:numCache>
                <c:formatCode>General</c:formatCode>
                <c:ptCount val="2"/>
                <c:pt idx="0">
                  <c:v>0.04669371933375431</c:v>
                </c:pt>
                <c:pt idx="1">
                  <c:v>0.04669371933375431</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3.167095066689381</c:v>
                </c:pt>
                <c:pt idx="1">
                  <c:v>3.167095066689381</c:v>
                </c:pt>
              </c:numCache>
            </c:numRef>
          </c:xVal>
          <c:yVal>
            <c:numRef>
              <c:f>Sheet1!$B$114:$B$115</c:f>
              <c:numCache>
                <c:formatCode>General</c:formatCode>
                <c:ptCount val="2"/>
                <c:pt idx="0">
                  <c:v>0.04669371933375431</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9522568547556627</c:v>
                </c:pt>
              </c:numCache>
            </c:numRef>
          </c:xVal>
          <c:yVal>
            <c:numRef>
              <c:f>Sheet1!$B$118:$B$119</c:f>
              <c:numCache>
                <c:formatCode>General</c:formatCode>
                <c:ptCount val="2"/>
                <c:pt idx="0">
                  <c:v>0.04501370281761721</c:v>
                </c:pt>
                <c:pt idx="1">
                  <c:v>0.0450137028176172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9522568547556627</c:v>
                </c:pt>
                <c:pt idx="1">
                  <c:v>1.9522568547556627</c:v>
                </c:pt>
              </c:numCache>
            </c:numRef>
          </c:xVal>
          <c:yVal>
            <c:numRef>
              <c:f>Sheet1!$B$122:$B$123</c:f>
              <c:numCache>
                <c:formatCode>General</c:formatCode>
                <c:ptCount val="2"/>
                <c:pt idx="0">
                  <c:v>0.0450137028176172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3.167095066689381</c:v>
                </c:pt>
                <c:pt idx="53">
                  <c:v>3.167095066689381</c:v>
                </c:pt>
                <c:pt idx="54">
                  <c:v>1.9522568547556627</c:v>
                </c:pt>
              </c:numCache>
            </c:numRef>
          </c:xVal>
          <c:yVal>
            <c:numRef>
              <c:f>Sheet1!$B$126:$B$180</c:f>
              <c:numCache>
                <c:formatCode>General</c:formatCode>
                <c:ptCount val="55"/>
                <c:pt idx="0">
                  <c:v>0.045954005569723115</c:v>
                </c:pt>
                <c:pt idx="1">
                  <c:v>0.04606505354707565</c:v>
                </c:pt>
                <c:pt idx="2">
                  <c:v>0.04606367063328546</c:v>
                </c:pt>
                <c:pt idx="3">
                  <c:v>0.04606422379880153</c:v>
                </c:pt>
                <c:pt idx="4">
                  <c:v>0.04606505354707565</c:v>
                </c:pt>
                <c:pt idx="5">
                  <c:v>0.04605924530915684</c:v>
                </c:pt>
                <c:pt idx="6">
                  <c:v>0.04605053295227862</c:v>
                </c:pt>
                <c:pt idx="7">
                  <c:v>0.046068649122930155</c:v>
                </c:pt>
                <c:pt idx="8">
                  <c:v>0.04607169153326858</c:v>
                </c:pt>
                <c:pt idx="9">
                  <c:v>0.04605855385226174</c:v>
                </c:pt>
                <c:pt idx="10">
                  <c:v>0.04605855385226174</c:v>
                </c:pt>
                <c:pt idx="11">
                  <c:v>0.04605675606433449</c:v>
                </c:pt>
                <c:pt idx="12">
                  <c:v>0.046073351029816814</c:v>
                </c:pt>
                <c:pt idx="13">
                  <c:v>0.046103221967684994</c:v>
                </c:pt>
                <c:pt idx="14">
                  <c:v>0.04602923607990964</c:v>
                </c:pt>
                <c:pt idx="15">
                  <c:v>0.04607777635394543</c:v>
                </c:pt>
                <c:pt idx="16">
                  <c:v>0.04605883043501978</c:v>
                </c:pt>
                <c:pt idx="17">
                  <c:v>0.046043480091948634</c:v>
                </c:pt>
                <c:pt idx="18">
                  <c:v>0.04608883966426698</c:v>
                </c:pt>
                <c:pt idx="19">
                  <c:v>0.046043480091948634</c:v>
                </c:pt>
                <c:pt idx="20">
                  <c:v>0.0460804038901468</c:v>
                </c:pt>
                <c:pt idx="21">
                  <c:v>0.04605647948157646</c:v>
                </c:pt>
                <c:pt idx="22">
                  <c:v>0.045711719073681226</c:v>
                </c:pt>
                <c:pt idx="23">
                  <c:v>0.045692634863376554</c:v>
                </c:pt>
                <c:pt idx="24">
                  <c:v>0.045718218768495134</c:v>
                </c:pt>
                <c:pt idx="25">
                  <c:v>0.046000471473073616</c:v>
                </c:pt>
                <c:pt idx="26">
                  <c:v>0.045819033183800234</c:v>
                </c:pt>
                <c:pt idx="27">
                  <c:v>0.04580465088038223</c:v>
                </c:pt>
                <c:pt idx="28">
                  <c:v>0.045829543328605706</c:v>
                </c:pt>
                <c:pt idx="29">
                  <c:v>0.04582981991136375</c:v>
                </c:pt>
                <c:pt idx="30">
                  <c:v>0.04579815118556831</c:v>
                </c:pt>
                <c:pt idx="31">
                  <c:v>0.045817650270010044</c:v>
                </c:pt>
                <c:pt idx="32">
                  <c:v>0.04584115980444333</c:v>
                </c:pt>
                <c:pt idx="33">
                  <c:v>0.04577118436665954</c:v>
                </c:pt>
                <c:pt idx="34">
                  <c:v>0.04584724462512019</c:v>
                </c:pt>
                <c:pt idx="35">
                  <c:v>0.04582470313034003</c:v>
                </c:pt>
                <c:pt idx="36">
                  <c:v>0.04579082174248029</c:v>
                </c:pt>
                <c:pt idx="37">
                  <c:v>0.04581834172690514</c:v>
                </c:pt>
                <c:pt idx="38">
                  <c:v>0.045819171475179256</c:v>
                </c:pt>
                <c:pt idx="39">
                  <c:v>0.04581834172690514</c:v>
                </c:pt>
                <c:pt idx="40">
                  <c:v>0.04580658695968849</c:v>
                </c:pt>
                <c:pt idx="41">
                  <c:v>0.0458480743733943</c:v>
                </c:pt>
                <c:pt idx="42">
                  <c:v>0.04583742593720981</c:v>
                </c:pt>
                <c:pt idx="43">
                  <c:v>0.04582442654758199</c:v>
                </c:pt>
                <c:pt idx="44">
                  <c:v>0.04578625812697265</c:v>
                </c:pt>
                <c:pt idx="45">
                  <c:v>0.045858031352683695</c:v>
                </c:pt>
                <c:pt idx="46">
                  <c:v>0.04582262875965474</c:v>
                </c:pt>
                <c:pt idx="47">
                  <c:v>0.04581281007174437</c:v>
                </c:pt>
                <c:pt idx="48">
                  <c:v>0.045819171475179256</c:v>
                </c:pt>
                <c:pt idx="49">
                  <c:v>0.04581599077346181</c:v>
                </c:pt>
                <c:pt idx="50">
                  <c:v>0.04583203257342806</c:v>
                </c:pt>
                <c:pt idx="51">
                  <c:v>0.04578860908041598</c:v>
                </c:pt>
                <c:pt idx="52">
                  <c:v>0.04669371933375431</c:v>
                </c:pt>
                <c:pt idx="53">
                  <c:v>0.04669371933375431</c:v>
                </c:pt>
                <c:pt idx="54">
                  <c:v>0.0450137028176172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7195633616669248"/>
          <c:min val="0.02311107172430218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1.1077804807652663</c:v>
                </c:pt>
                <c:pt idx="1">
                  <c:v>1.107871840336481</c:v>
                </c:pt>
                <c:pt idx="2">
                  <c:v>1.107876288659794</c:v>
                </c:pt>
                <c:pt idx="3">
                  <c:v>1.107958762886598</c:v>
                </c:pt>
                <c:pt idx="4">
                  <c:v>1.1078261586673266</c:v>
                </c:pt>
                <c:pt idx="5">
                  <c:v>1.107871840336481</c:v>
                </c:pt>
                <c:pt idx="6">
                  <c:v>1.1078261586673266</c:v>
                </c:pt>
                <c:pt idx="7">
                  <c:v>1.10786739238001</c:v>
                </c:pt>
                <c:pt idx="8">
                  <c:v>1.107917525773196</c:v>
                </c:pt>
                <c:pt idx="9">
                  <c:v>1.107958762886598</c:v>
                </c:pt>
                <c:pt idx="10">
                  <c:v>1.1079632149779373</c:v>
                </c:pt>
                <c:pt idx="11">
                  <c:v>1.107917525773196</c:v>
                </c:pt>
                <c:pt idx="12">
                  <c:v>1.10786739238001</c:v>
                </c:pt>
                <c:pt idx="13">
                  <c:v>1.1077392487527316</c:v>
                </c:pt>
              </c:numCache>
            </c:numRef>
          </c:xVal>
          <c:yVal>
            <c:numRef>
              <c:f>Sheet1!$B$2:$B$15</c:f>
              <c:numCache>
                <c:formatCode>General</c:formatCode>
                <c:ptCount val="1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numCache>
            </c:numRef>
          </c:yVal>
          <c:smooth val="0"/>
          <c:extLst>
            <c:ext xmlns:c16="http://schemas.microsoft.com/office/drawing/2014/chart" uri="{C3380CC4-5D6E-409C-BE32-E72D297353CC}">
              <c16:uniqueId val="{00000000-096C-4121-9522-6AB7243CCAAE}"/>
            </c:ext>
          </c:extLst>
        </c:ser>
        <c:ser>
          <c:idx val="1"/>
          <c:order val="1"/>
          <c:tx>
            <c:strRef>
              <c:f>Sheet1!$B$1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0:$A$21</c:f>
              <c:numCache>
                <c:formatCode>General</c:formatCode>
                <c:ptCount val="2"/>
                <c:pt idx="0">
                  <c:v>0</c:v>
                </c:pt>
                <c:pt idx="1">
                  <c:v>0.04011141358544186</c:v>
                </c:pt>
              </c:numCache>
            </c:numRef>
          </c:xVal>
          <c:yVal>
            <c:numRef>
              <c:f>Sheet1!$B$20:$B$21</c:f>
              <c:numCache>
                <c:formatCode>General</c:formatCode>
                <c:ptCount val="2"/>
                <c:pt idx="0">
                  <c:v>0.04011141358544186</c:v>
                </c:pt>
                <c:pt idx="1">
                  <c:v>0.04011141358544186</c:v>
                </c:pt>
              </c:numCache>
            </c:numRef>
          </c:yVal>
          <c:smooth val="0"/>
          <c:extLst>
            <c:ext xmlns:c16="http://schemas.microsoft.com/office/drawing/2014/chart" uri="{C3380CC4-5D6E-409C-BE32-E72D297353CC}">
              <c16:uniqueId val="{00000005-096C-4121-9522-6AB7243CCAAE}"/>
            </c:ext>
          </c:extLst>
        </c:ser>
        <c:ser>
          <c:idx val="3"/>
          <c:order val="3"/>
          <c:tx>
            <c:strRef>
              <c:f>Sheet1!$B$2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4:$A$25</c:f>
              <c:numCache>
                <c:formatCode>General</c:formatCode>
                <c:ptCount val="2"/>
                <c:pt idx="0">
                  <c:v>0.04011141358544186</c:v>
                </c:pt>
                <c:pt idx="1">
                  <c:v>0.04011141358544186</c:v>
                </c:pt>
              </c:numCache>
            </c:numRef>
          </c:xVal>
          <c:yVal>
            <c:numRef>
              <c:f>Sheet1!$B$24:$B$25</c:f>
              <c:numCache>
                <c:formatCode>General</c:formatCode>
                <c:ptCount val="2"/>
                <c:pt idx="0">
                  <c:v>0.0401114135854418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7</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8:$A$30</c:f>
              <c:numCache>
                <c:formatCode>General</c:formatCode>
                <c:ptCount val="3"/>
                <c:pt idx="0">
                  <c:v>0</c:v>
                </c:pt>
                <c:pt idx="1">
                  <c:v>0.04011141358544186</c:v>
                </c:pt>
                <c:pt idx="2">
                  <c:v>0</c:v>
                </c:pt>
              </c:numCache>
            </c:numRef>
          </c:xVal>
          <c:yVal>
            <c:numRef>
              <c:f>Sheet1!$B$28:$B$30</c:f>
              <c:numCache>
                <c:formatCode>General</c:formatCode>
                <c:ptCount val="3"/>
                <c:pt idx="0">
                  <c:v>0</c:v>
                </c:pt>
                <c:pt idx="1">
                  <c:v>0.04011141358544186</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666210311812361"/>
          <c:min val="0.02823047034623189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756</c:v>
                </c:pt>
                <c:pt idx="1">
                  <c:v>2.728</c:v>
                </c:pt>
                <c:pt idx="2">
                  <c:v>2.7312</c:v>
                </c:pt>
                <c:pt idx="3">
                  <c:v>2.7424</c:v>
                </c:pt>
                <c:pt idx="4">
                  <c:v>2.7356</c:v>
                </c:pt>
                <c:pt idx="5">
                  <c:v>2.7404</c:v>
                </c:pt>
                <c:pt idx="6">
                  <c:v>2.739</c:v>
                </c:pt>
                <c:pt idx="7">
                  <c:v>2.7386</c:v>
                </c:pt>
                <c:pt idx="8">
                  <c:v>2.7628</c:v>
                </c:pt>
                <c:pt idx="9">
                  <c:v>2.7513</c:v>
                </c:pt>
                <c:pt idx="10">
                  <c:v>2.7358</c:v>
                </c:pt>
                <c:pt idx="11">
                  <c:v>2.7561</c:v>
                </c:pt>
                <c:pt idx="12">
                  <c:v>2.7664</c:v>
                </c:pt>
                <c:pt idx="13">
                  <c:v>2.7545</c:v>
                </c:pt>
              </c:numCache>
            </c:numRef>
          </c:xVal>
          <c:yVal>
            <c:numRef>
              <c:f>Sheet1!$B$2:$B$15</c:f>
              <c:numCache>
                <c:formatCode>General</c:formatCode>
                <c:ptCount val="14"/>
                <c:pt idx="0">
                  <c:v>0.05710917727004819</c:v>
                </c:pt>
                <c:pt idx="1">
                  <c:v>0.055442291655626925</c:v>
                </c:pt>
                <c:pt idx="2">
                  <c:v>0.04865943263101552</c:v>
                </c:pt>
                <c:pt idx="3">
                  <c:v>0.05637794149420146</c:v>
                </c:pt>
                <c:pt idx="4">
                  <c:v>0.0543721135854101</c:v>
                </c:pt>
                <c:pt idx="5">
                  <c:v>0.04948952453384426</c:v>
                </c:pt>
                <c:pt idx="6">
                  <c:v>0.052570630663628735</c:v>
                </c:pt>
                <c:pt idx="7">
                  <c:v>0.04954642422792432</c:v>
                </c:pt>
                <c:pt idx="8">
                  <c:v>0.04797324731210297</c:v>
                </c:pt>
                <c:pt idx="9">
                  <c:v>0.04977167890681393</c:v>
                </c:pt>
                <c:pt idx="10">
                  <c:v>0.05029989873929692</c:v>
                </c:pt>
                <c:pt idx="11">
                  <c:v>0.05403923820746801</c:v>
                </c:pt>
                <c:pt idx="12">
                  <c:v>0.052574406521875054</c:v>
                </c:pt>
                <c:pt idx="13">
                  <c:v>0.051344005244898516</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5439219132726044</c:v>
                </c:pt>
              </c:numCache>
            </c:numRef>
          </c:xVal>
          <c:yVal>
            <c:numRef>
              <c:f>Sheet1!$B$20:$B$21</c:f>
              <c:numCache>
                <c:formatCode>General</c:formatCode>
                <c:ptCount val="2"/>
                <c:pt idx="0">
                  <c:v>0.05439219132726044</c:v>
                </c:pt>
                <c:pt idx="1">
                  <c:v>0.05439219132726044</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5439219132726044</c:v>
                </c:pt>
                <c:pt idx="1">
                  <c:v>0.05439219132726044</c:v>
                </c:pt>
              </c:numCache>
            </c:numRef>
          </c:xVal>
          <c:yVal>
            <c:numRef>
              <c:f>Sheet1!$B$24:$B$25</c:f>
              <c:numCache>
                <c:formatCode>General</c:formatCode>
                <c:ptCount val="2"/>
                <c:pt idx="0">
                  <c:v>0.054392191327260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5439219132726044</c:v>
                </c:pt>
                <c:pt idx="2">
                  <c:v>0</c:v>
                </c:pt>
              </c:numCache>
            </c:numRef>
          </c:xVal>
          <c:yVal>
            <c:numRef>
              <c:f>Sheet1!$B$28:$B$30</c:f>
              <c:numCache>
                <c:formatCode>General</c:formatCode>
                <c:ptCount val="3"/>
                <c:pt idx="0">
                  <c:v>0</c:v>
                </c:pt>
                <c:pt idx="1">
                  <c:v>0.05439219132726044</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6853101272405783"/>
          <c:min val="0.0383785978496823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5</c:f>
              <c:numCache>
                <c:formatCode>General</c:formatCode>
                <c:ptCount val="1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numCache>
            </c:numRef>
          </c:xVal>
          <c:yVal>
            <c:numRef>
              <c:f>Sheet1!$B$2:$B$15</c:f>
              <c:numCache>
                <c:formatCode>General</c:formatCode>
                <c:ptCount val="14"/>
                <c:pt idx="0">
                  <c:v>0.036764311492870114</c:v>
                </c:pt>
                <c:pt idx="1">
                  <c:v>0.03682767097401244</c:v>
                </c:pt>
                <c:pt idx="2">
                  <c:v>0.047218419265103014</c:v>
                </c:pt>
                <c:pt idx="3">
                  <c:v>0.03631780104082785</c:v>
                </c:pt>
                <c:pt idx="4">
                  <c:v>0.043428865154395896</c:v>
                </c:pt>
                <c:pt idx="5">
                  <c:v>0.04331286263003074</c:v>
                </c:pt>
                <c:pt idx="6">
                  <c:v>0.04124972344258668</c:v>
                </c:pt>
                <c:pt idx="7">
                  <c:v>0.03650049176708305</c:v>
                </c:pt>
                <c:pt idx="8">
                  <c:v>0.03855263757230992</c:v>
                </c:pt>
                <c:pt idx="9">
                  <c:v>0.03528808793278987</c:v>
                </c:pt>
                <c:pt idx="10">
                  <c:v>0.035777230746021405</c:v>
                </c:pt>
                <c:pt idx="11">
                  <c:v>0.036589248288080085</c:v>
                </c:pt>
                <c:pt idx="12">
                  <c:v>0.03838649859238275</c:v>
                </c:pt>
                <c:pt idx="13">
                  <c:v>0.0426772851109007</c:v>
                </c:pt>
              </c:numCache>
            </c:numRef>
          </c:yVal>
          <c:smooth val="0"/>
          <c:extLst>
            <c:ext xmlns:c16="http://schemas.microsoft.com/office/drawing/2014/chart" uri="{C3380CC4-5D6E-409C-BE32-E72D297353CC}">
              <c16:uniqueId val="{00000000-F32D-48B7-BC20-E66FC6253BAD}"/>
            </c:ext>
          </c:extLst>
        </c:ser>
        <c:ser>
          <c:idx val="1"/>
          <c:order val="1"/>
          <c:tx>
            <c:strRef>
              <c:f>Sheet1!$B$1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8:$A$17</c:f>
              <c:numCache>
                <c:formatCode>General</c:formatCode>
                <c:ptCount val="0"/>
              </c:numCache>
            </c:numRef>
          </c:xVal>
          <c:yVal>
            <c:numRef>
              <c:f>Sheet1!$B$18:$B$17</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9</c:f>
              <c:strCache>
                <c:ptCount val="1"/>
                <c:pt idx="0">
                  <c:v>Custom Linep3yQ</c:v>
                </c:pt>
              </c:strCache>
            </c:strRef>
          </c:tx>
          <c:spPr>
            <a:ln w="19050" cap="rnd">
              <a:solidFill>
                <a:srgbClr val="C00000"/>
              </a:solidFill>
              <a:prstDash val="sysDot"/>
              <a:round/>
            </a:ln>
            <a:effectLst/>
          </c:spPr>
          <c:marker>
            <c:symbol val="none"/>
          </c:marker>
          <c:xVal>
            <c:numRef>
              <c:f>Sheet1!$A$20:$A$21</c:f>
              <c:numCache>
                <c:formatCode>General</c:formatCode>
                <c:ptCount val="2"/>
                <c:pt idx="0">
                  <c:v>0</c:v>
                </c:pt>
                <c:pt idx="1">
                  <c:v>0.04011141358544186</c:v>
                </c:pt>
              </c:numCache>
            </c:numRef>
          </c:xVal>
          <c:yVal>
            <c:numRef>
              <c:f>Sheet1!$B$20:$B$21</c:f>
              <c:numCache>
                <c:formatCode>General</c:formatCode>
                <c:ptCount val="2"/>
                <c:pt idx="0">
                  <c:v>0.04011141358544186</c:v>
                </c:pt>
                <c:pt idx="1">
                  <c:v>0.04011141358544186</c:v>
                </c:pt>
              </c:numCache>
            </c:numRef>
          </c:yVal>
          <c:smooth val="0"/>
          <c:extLst>
            <c:ext xmlns:c16="http://schemas.microsoft.com/office/drawing/2014/chart" uri="{C3380CC4-5D6E-409C-BE32-E72D297353CC}">
              <c16:uniqueId val="{00000003-F32D-48B7-BC20-E66FC6253BAD}"/>
            </c:ext>
          </c:extLst>
        </c:ser>
        <c:ser>
          <c:idx val="3"/>
          <c:order val="3"/>
          <c:tx>
            <c:strRef>
              <c:f>Sheet1!$B$2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4:$A$25</c:f>
              <c:numCache>
                <c:formatCode>General</c:formatCode>
                <c:ptCount val="2"/>
                <c:pt idx="0">
                  <c:v>0.04011141358544186</c:v>
                </c:pt>
                <c:pt idx="1">
                  <c:v>0.04011141358544186</c:v>
                </c:pt>
              </c:numCache>
            </c:numRef>
          </c:xVal>
          <c:yVal>
            <c:numRef>
              <c:f>Sheet1!$B$24:$B$25</c:f>
              <c:numCache>
                <c:formatCode>General</c:formatCode>
                <c:ptCount val="2"/>
                <c:pt idx="0">
                  <c:v>0.0401114135854418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7</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8:$A$30</c:f>
              <c:numCache>
                <c:formatCode>General</c:formatCode>
                <c:ptCount val="3"/>
                <c:pt idx="0">
                  <c:v>0</c:v>
                </c:pt>
                <c:pt idx="1">
                  <c:v>0.04011141358544186</c:v>
                </c:pt>
                <c:pt idx="2">
                  <c:v>0</c:v>
                </c:pt>
              </c:numCache>
            </c:numRef>
          </c:xVal>
          <c:yVal>
            <c:numRef>
              <c:f>Sheet1!$B$28:$B$30</c:f>
              <c:numCache>
                <c:formatCode>General</c:formatCode>
                <c:ptCount val="3"/>
                <c:pt idx="0">
                  <c:v>0</c:v>
                </c:pt>
                <c:pt idx="1">
                  <c:v>0.04011141358544186</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666210311812361"/>
          <c:min val="0.02823047034623189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2.0653844196814735</c:v>
                </c:pt>
                <c:pt idx="1">
                  <c:v>1.9198086806085586</c:v>
                </c:pt>
                <c:pt idx="2">
                  <c:v>1.693431028341729</c:v>
                </c:pt>
                <c:pt idx="3">
                  <c:v>1.6930748486236198</c:v>
                </c:pt>
                <c:pt idx="4">
                  <c:v>1.693227497074238</c:v>
                </c:pt>
                <c:pt idx="5">
                  <c:v>1.6933292627079835</c:v>
                </c:pt>
                <c:pt idx="6">
                  <c:v>1.7513865567597822</c:v>
                </c:pt>
                <c:pt idx="7">
                  <c:v>1.9081056327278278</c:v>
                </c:pt>
                <c:pt idx="8">
                  <c:v>1.9197577977916858</c:v>
                </c:pt>
                <c:pt idx="9">
                  <c:v>1.9196560321579401</c:v>
                </c:pt>
                <c:pt idx="10">
                  <c:v>1.919706914974813</c:v>
                </c:pt>
                <c:pt idx="11">
                  <c:v>1.9198086806085586</c:v>
                </c:pt>
                <c:pt idx="12">
                  <c:v>1.9196051493410675</c:v>
                </c:pt>
                <c:pt idx="13">
                  <c:v>1.9200122118760494</c:v>
                </c:pt>
                <c:pt idx="14">
                  <c:v>1.9196560321579401</c:v>
                </c:pt>
                <c:pt idx="15">
                  <c:v>1.9196560321579401</c:v>
                </c:pt>
                <c:pt idx="16">
                  <c:v>1.9209789853966315</c:v>
                </c:pt>
                <c:pt idx="17">
                  <c:v>1.922505469902814</c:v>
                </c:pt>
              </c:numCache>
            </c:numRef>
          </c:xVal>
          <c:yVal>
            <c:numRef>
              <c:f>Sheet1!$B$2:$B$19</c:f>
              <c:numCache>
                <c:formatCode>General</c:formatCode>
                <c:ptCount val="18"/>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pt idx="13">
                  <c:v>0.0037306450858399214</c:v>
                </c:pt>
                <c:pt idx="14">
                  <c:v>0.0031218927541957235</c:v>
                </c:pt>
                <c:pt idx="15">
                  <c:v>0.0032302709846149147</c:v>
                </c:pt>
                <c:pt idx="16">
                  <c:v>0.001658901830282862</c:v>
                </c:pt>
                <c:pt idx="17">
                  <c:v>0.0008067845592788825</c:v>
                </c:pt>
              </c:numCache>
            </c:numRef>
          </c:yVal>
          <c:smooth val="0"/>
          <c:extLst>
            <c:ext xmlns:c16="http://schemas.microsoft.com/office/drawing/2014/chart" uri="{C3380CC4-5D6E-409C-BE32-E72D297353CC}">
              <c16:uniqueId val="{00000000-096C-4121-9522-6AB7243CCAAE}"/>
            </c:ext>
          </c:extLst>
        </c:ser>
        <c:ser>
          <c:idx val="1"/>
          <c:order val="1"/>
          <c:tx>
            <c:strRef>
              <c:f>Sheet1!$B$2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4:$A$25</c:f>
              <c:numCache>
                <c:formatCode>General</c:formatCode>
                <c:ptCount val="2"/>
                <c:pt idx="0">
                  <c:v>0</c:v>
                </c:pt>
                <c:pt idx="1">
                  <c:v>0.013177088284256639</c:v>
                </c:pt>
              </c:numCache>
            </c:numRef>
          </c:xVal>
          <c:yVal>
            <c:numRef>
              <c:f>Sheet1!$B$24:$B$25</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5-096C-4121-9522-6AB7243CCAAE}"/>
            </c:ext>
          </c:extLst>
        </c:ser>
        <c:ser>
          <c:idx val="3"/>
          <c:order val="3"/>
          <c:tx>
            <c:strRef>
              <c:f>Sheet1!$B$2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8:$A$29</c:f>
              <c:numCache>
                <c:formatCode>General</c:formatCode>
                <c:ptCount val="2"/>
                <c:pt idx="0">
                  <c:v>0.013177088284256639</c:v>
                </c:pt>
                <c:pt idx="1">
                  <c:v>0.013177088284256639</c:v>
                </c:pt>
              </c:numCache>
            </c:numRef>
          </c:xVal>
          <c:yVal>
            <c:numRef>
              <c:f>Sheet1!$B$28:$B$29</c:f>
              <c:numCache>
                <c:formatCode>General</c:formatCode>
                <c:ptCount val="2"/>
                <c:pt idx="0">
                  <c:v>0.0131770882842566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2:$A$34</c:f>
              <c:numCache>
                <c:formatCode>General</c:formatCode>
                <c:ptCount val="3"/>
                <c:pt idx="0">
                  <c:v>0</c:v>
                </c:pt>
                <c:pt idx="1">
                  <c:v>0.013177088284256639</c:v>
                </c:pt>
                <c:pt idx="2">
                  <c:v>0</c:v>
                </c:pt>
              </c:numCache>
            </c:numRef>
          </c:xVal>
          <c:yVal>
            <c:numRef>
              <c:f>Sheet1!$B$32:$B$34</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4542764742310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pt idx="13">
                  <c:v>3.7734</c:v>
                </c:pt>
                <c:pt idx="14">
                  <c:v>3.7727</c:v>
                </c:pt>
                <c:pt idx="15">
                  <c:v>3.7727</c:v>
                </c:pt>
                <c:pt idx="16">
                  <c:v>3.7753</c:v>
                </c:pt>
                <c:pt idx="17">
                  <c:v>3.7783</c:v>
                </c:pt>
              </c:numCache>
            </c:numRef>
          </c:xVal>
          <c:yVal>
            <c:numRef>
              <c:f>Sheet1!$B$2:$B$19</c:f>
              <c:numCache>
                <c:formatCode>General</c:formatCode>
                <c:ptCount val="18"/>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pt idx="13">
                  <c:v>0.0037306450858399214</c:v>
                </c:pt>
                <c:pt idx="14">
                  <c:v>0.0031218927541957235</c:v>
                </c:pt>
                <c:pt idx="15">
                  <c:v>0.0032302709846149147</c:v>
                </c:pt>
                <c:pt idx="16">
                  <c:v>0.001658901830282862</c:v>
                </c:pt>
                <c:pt idx="17">
                  <c:v>0.0008067845592788825</c:v>
                </c:pt>
              </c:numCache>
            </c:numRef>
          </c:yVal>
          <c:smooth val="0"/>
          <c:extLst>
            <c:ext xmlns:c16="http://schemas.microsoft.com/office/drawing/2014/chart" uri="{C3380CC4-5D6E-409C-BE32-E72D297353CC}">
              <c16:uniqueId val="{00000000-F32D-48B7-BC20-E66FC6253BAD}"/>
            </c:ext>
          </c:extLst>
        </c:ser>
        <c:ser>
          <c:idx val="1"/>
          <c:order val="1"/>
          <c:tx>
            <c:strRef>
              <c:f>Sheet1!$B$2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3</c:f>
              <c:strCache>
                <c:ptCount val="1"/>
                <c:pt idx="0">
                  <c:v>Custom Linep3yQ</c:v>
                </c:pt>
              </c:strCache>
            </c:strRef>
          </c:tx>
          <c:spPr>
            <a:ln w="19050" cap="rnd">
              <a:solidFill>
                <a:srgbClr val="C00000"/>
              </a:solidFill>
              <a:prstDash val="sysDot"/>
              <a:round/>
            </a:ln>
            <a:effectLst/>
          </c:spPr>
          <c:marker>
            <c:symbol val="none"/>
          </c:marker>
          <c:xVal>
            <c:numRef>
              <c:f>Sheet1!$A$24:$A$25</c:f>
              <c:numCache>
                <c:formatCode>General</c:formatCode>
                <c:ptCount val="2"/>
                <c:pt idx="0">
                  <c:v>0</c:v>
                </c:pt>
                <c:pt idx="1">
                  <c:v>0.013177088284256639</c:v>
                </c:pt>
              </c:numCache>
            </c:numRef>
          </c:xVal>
          <c:yVal>
            <c:numRef>
              <c:f>Sheet1!$B$24:$B$25</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3-F32D-48B7-BC20-E66FC6253BAD}"/>
            </c:ext>
          </c:extLst>
        </c:ser>
        <c:ser>
          <c:idx val="3"/>
          <c:order val="3"/>
          <c:tx>
            <c:strRef>
              <c:f>Sheet1!$B$2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8:$A$29</c:f>
              <c:numCache>
                <c:formatCode>General</c:formatCode>
                <c:ptCount val="2"/>
                <c:pt idx="0">
                  <c:v>0.013177088284256639</c:v>
                </c:pt>
                <c:pt idx="1">
                  <c:v>0.013177088284256639</c:v>
                </c:pt>
              </c:numCache>
            </c:numRef>
          </c:xVal>
          <c:yVal>
            <c:numRef>
              <c:f>Sheet1!$B$28:$B$29</c:f>
              <c:numCache>
                <c:formatCode>General</c:formatCode>
                <c:ptCount val="2"/>
                <c:pt idx="0">
                  <c:v>0.0131770882842566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2:$A$34</c:f>
              <c:numCache>
                <c:formatCode>General</c:formatCode>
                <c:ptCount val="3"/>
                <c:pt idx="0">
                  <c:v>0</c:v>
                </c:pt>
                <c:pt idx="1">
                  <c:v>0.013177088284256639</c:v>
                </c:pt>
                <c:pt idx="2">
                  <c:v>0</c:v>
                </c:pt>
              </c:numCache>
            </c:numRef>
          </c:xVal>
          <c:yVal>
            <c:numRef>
              <c:f>Sheet1!$B$32:$B$34</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4542764742310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0.7898311021170611</c:v>
                </c:pt>
                <c:pt idx="1">
                  <c:v>0.7341466736715117</c:v>
                </c:pt>
                <c:pt idx="2">
                  <c:v>0.6475658637195003</c:v>
                </c:pt>
                <c:pt idx="3">
                  <c:v>0.6475430573124453</c:v>
                </c:pt>
                <c:pt idx="4">
                  <c:v>0.6474880336226019</c:v>
                </c:pt>
                <c:pt idx="5">
                  <c:v>0.6476655703248156</c:v>
                </c:pt>
                <c:pt idx="6">
                  <c:v>0.6697801128624246</c:v>
                </c:pt>
                <c:pt idx="7">
                  <c:v>0.7297991592713685</c:v>
                </c:pt>
                <c:pt idx="8">
                  <c:v>0.734141500622665</c:v>
                </c:pt>
                <c:pt idx="9">
                  <c:v>0.7341311539209963</c:v>
                </c:pt>
                <c:pt idx="10">
                  <c:v>0.7340791905827415</c:v>
                </c:pt>
                <c:pt idx="11">
                  <c:v>0.7341752446926505</c:v>
                </c:pt>
                <c:pt idx="12">
                  <c:v>0.7342117042601639</c:v>
                </c:pt>
                <c:pt idx="13">
                  <c:v>0.7341530798863769</c:v>
                </c:pt>
                <c:pt idx="14">
                  <c:v>0.7341740128826356</c:v>
                </c:pt>
                <c:pt idx="15">
                  <c:v>0.7342168768488245</c:v>
                </c:pt>
                <c:pt idx="16">
                  <c:v>0.7346513845375471</c:v>
                </c:pt>
                <c:pt idx="17">
                  <c:v>0.7352780913089169</c:v>
                </c:pt>
              </c:numCache>
            </c:numRef>
          </c:xVal>
          <c:yVal>
            <c:numRef>
              <c:f>Sheet1!$B$2:$B$19</c:f>
              <c:numCache>
                <c:formatCode>General</c:formatCode>
                <c:ptCount val="18"/>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pt idx="13">
                  <c:v>0.0037306450858399214</c:v>
                </c:pt>
                <c:pt idx="14">
                  <c:v>0.0031218927541957235</c:v>
                </c:pt>
                <c:pt idx="15">
                  <c:v>0.0032302709846149147</c:v>
                </c:pt>
                <c:pt idx="16">
                  <c:v>0.001658901830282862</c:v>
                </c:pt>
                <c:pt idx="17">
                  <c:v>0.0008067845592788825</c:v>
                </c:pt>
              </c:numCache>
            </c:numRef>
          </c:yVal>
          <c:smooth val="0"/>
          <c:extLst>
            <c:ext xmlns:c16="http://schemas.microsoft.com/office/drawing/2014/chart" uri="{C3380CC4-5D6E-409C-BE32-E72D297353CC}">
              <c16:uniqueId val="{00000000-096C-4121-9522-6AB7243CCAAE}"/>
            </c:ext>
          </c:extLst>
        </c:ser>
        <c:ser>
          <c:idx val="1"/>
          <c:order val="1"/>
          <c:tx>
            <c:strRef>
              <c:f>Sheet1!$B$2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4:$A$25</c:f>
              <c:numCache>
                <c:formatCode>General</c:formatCode>
                <c:ptCount val="2"/>
                <c:pt idx="0">
                  <c:v>0</c:v>
                </c:pt>
                <c:pt idx="1">
                  <c:v>0.013177088284256639</c:v>
                </c:pt>
              </c:numCache>
            </c:numRef>
          </c:xVal>
          <c:yVal>
            <c:numRef>
              <c:f>Sheet1!$B$24:$B$25</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5-096C-4121-9522-6AB7243CCAAE}"/>
            </c:ext>
          </c:extLst>
        </c:ser>
        <c:ser>
          <c:idx val="3"/>
          <c:order val="3"/>
          <c:tx>
            <c:strRef>
              <c:f>Sheet1!$B$2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8:$A$29</c:f>
              <c:numCache>
                <c:formatCode>General</c:formatCode>
                <c:ptCount val="2"/>
                <c:pt idx="0">
                  <c:v>0.013177088284256639</c:v>
                </c:pt>
                <c:pt idx="1">
                  <c:v>0.013177088284256639</c:v>
                </c:pt>
              </c:numCache>
            </c:numRef>
          </c:xVal>
          <c:yVal>
            <c:numRef>
              <c:f>Sheet1!$B$28:$B$29</c:f>
              <c:numCache>
                <c:formatCode>General</c:formatCode>
                <c:ptCount val="2"/>
                <c:pt idx="0">
                  <c:v>0.0131770882842566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2:$A$34</c:f>
              <c:numCache>
                <c:formatCode>General</c:formatCode>
                <c:ptCount val="3"/>
                <c:pt idx="0">
                  <c:v>0</c:v>
                </c:pt>
                <c:pt idx="1">
                  <c:v>0.013177088284256639</c:v>
                </c:pt>
                <c:pt idx="2">
                  <c:v>0</c:v>
                </c:pt>
              </c:numCache>
            </c:numRef>
          </c:xVal>
          <c:yVal>
            <c:numRef>
              <c:f>Sheet1!$B$32:$B$34</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45427647423106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pt idx="13">
                  <c:v>3.7734</c:v>
                </c:pt>
                <c:pt idx="14">
                  <c:v>3.7727</c:v>
                </c:pt>
                <c:pt idx="15">
                  <c:v>3.7727</c:v>
                </c:pt>
                <c:pt idx="16">
                  <c:v>3.7753</c:v>
                </c:pt>
                <c:pt idx="17">
                  <c:v>3.7783</c:v>
                </c:pt>
              </c:numCache>
            </c:numRef>
          </c:xVal>
          <c:yVal>
            <c:numRef>
              <c:f>Sheet1!$B$2:$B$19</c:f>
              <c:numCache>
                <c:formatCode>General</c:formatCode>
                <c:ptCount val="18"/>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pt idx="13">
                  <c:v>0.0037306450858399214</c:v>
                </c:pt>
                <c:pt idx="14">
                  <c:v>0.0031218927541957235</c:v>
                </c:pt>
                <c:pt idx="15">
                  <c:v>0.0032302709846149147</c:v>
                </c:pt>
                <c:pt idx="16">
                  <c:v>0.001658901830282862</c:v>
                </c:pt>
                <c:pt idx="17">
                  <c:v>0.0008067845592788825</c:v>
                </c:pt>
              </c:numCache>
            </c:numRef>
          </c:yVal>
          <c:smooth val="0"/>
          <c:extLst>
            <c:ext xmlns:c16="http://schemas.microsoft.com/office/drawing/2014/chart" uri="{C3380CC4-5D6E-409C-BE32-E72D297353CC}">
              <c16:uniqueId val="{00000000-F32D-48B7-BC20-E66FC6253BAD}"/>
            </c:ext>
          </c:extLst>
        </c:ser>
        <c:ser>
          <c:idx val="1"/>
          <c:order val="1"/>
          <c:tx>
            <c:strRef>
              <c:f>Sheet1!$B$2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3</c:f>
              <c:strCache>
                <c:ptCount val="1"/>
                <c:pt idx="0">
                  <c:v>Custom Linep3yQ</c:v>
                </c:pt>
              </c:strCache>
            </c:strRef>
          </c:tx>
          <c:spPr>
            <a:ln w="19050" cap="rnd">
              <a:solidFill>
                <a:srgbClr val="C00000"/>
              </a:solidFill>
              <a:prstDash val="sysDot"/>
              <a:round/>
            </a:ln>
            <a:effectLst/>
          </c:spPr>
          <c:marker>
            <c:symbol val="none"/>
          </c:marker>
          <c:xVal>
            <c:numRef>
              <c:f>Sheet1!$A$24:$A$25</c:f>
              <c:numCache>
                <c:formatCode>General</c:formatCode>
                <c:ptCount val="2"/>
                <c:pt idx="0">
                  <c:v>0</c:v>
                </c:pt>
                <c:pt idx="1">
                  <c:v>0.013177088284256639</c:v>
                </c:pt>
              </c:numCache>
            </c:numRef>
          </c:xVal>
          <c:yVal>
            <c:numRef>
              <c:f>Sheet1!$B$24:$B$25</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3-F32D-48B7-BC20-E66FC6253BAD}"/>
            </c:ext>
          </c:extLst>
        </c:ser>
        <c:ser>
          <c:idx val="3"/>
          <c:order val="3"/>
          <c:tx>
            <c:strRef>
              <c:f>Sheet1!$B$2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8:$A$29</c:f>
              <c:numCache>
                <c:formatCode>General</c:formatCode>
                <c:ptCount val="2"/>
                <c:pt idx="0">
                  <c:v>0.013177088284256639</c:v>
                </c:pt>
                <c:pt idx="1">
                  <c:v>0.013177088284256639</c:v>
                </c:pt>
              </c:numCache>
            </c:numRef>
          </c:xVal>
          <c:yVal>
            <c:numRef>
              <c:f>Sheet1!$B$28:$B$29</c:f>
              <c:numCache>
                <c:formatCode>General</c:formatCode>
                <c:ptCount val="2"/>
                <c:pt idx="0">
                  <c:v>0.0131770882842566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2:$A$34</c:f>
              <c:numCache>
                <c:formatCode>General</c:formatCode>
                <c:ptCount val="3"/>
                <c:pt idx="0">
                  <c:v>0</c:v>
                </c:pt>
                <c:pt idx="1">
                  <c:v>0.013177088284256639</c:v>
                </c:pt>
                <c:pt idx="2">
                  <c:v>0</c:v>
                </c:pt>
              </c:numCache>
            </c:numRef>
          </c:xVal>
          <c:yVal>
            <c:numRef>
              <c:f>Sheet1!$B$32:$B$34</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45427647423106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4</c:f>
              <c:numCache>
                <c:formatCode>General</c:formatCode>
                <c:ptCount val="13"/>
                <c:pt idx="0">
                  <c:v>1.6736486207891808</c:v>
                </c:pt>
                <c:pt idx="1">
                  <c:v>1.5558121314584965</c:v>
                </c:pt>
                <c:pt idx="2">
                  <c:v>1.3724123711340208</c:v>
                </c:pt>
                <c:pt idx="3">
                  <c:v>1.372010555830447</c:v>
                </c:pt>
                <c:pt idx="4">
                  <c:v>1.3721908374912375</c:v>
                </c:pt>
                <c:pt idx="5">
                  <c:v>1.3722167243938646</c:v>
                </c:pt>
                <c:pt idx="6">
                  <c:v>1.4192643905657267</c:v>
                </c:pt>
                <c:pt idx="7">
                  <c:v>1.5463917525773196</c:v>
                </c:pt>
                <c:pt idx="8">
                  <c:v>1.555835051546392</c:v>
                </c:pt>
                <c:pt idx="9">
                  <c:v>1.5558167347107097</c:v>
                </c:pt>
                <c:pt idx="10">
                  <c:v>1.55579381443299</c:v>
                </c:pt>
                <c:pt idx="11">
                  <c:v>1.5557479795480786</c:v>
                </c:pt>
                <c:pt idx="12">
                  <c:v>1.5555189048777471</c:v>
                </c:pt>
              </c:numCache>
            </c:numRef>
          </c:xVal>
          <c:yVal>
            <c:numRef>
              <c:f>Sheet1!$B$2:$B$14</c:f>
              <c:numCache>
                <c:formatCode>General</c:formatCode>
                <c:ptCount val="13"/>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numCache>
            </c:numRef>
          </c:yVal>
          <c:smooth val="0"/>
          <c:extLst>
            <c:ext xmlns:c16="http://schemas.microsoft.com/office/drawing/2014/chart" uri="{C3380CC4-5D6E-409C-BE32-E72D297353CC}">
              <c16:uniqueId val="{00000000-096C-4121-9522-6AB7243CCAAE}"/>
            </c:ext>
          </c:extLst>
        </c:ser>
        <c:ser>
          <c:idx val="1"/>
          <c:order val="1"/>
          <c:tx>
            <c:strRef>
              <c:f>Sheet1!$B$16</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7:$A$16</c:f>
              <c:numCache>
                <c:formatCode>General</c:formatCode>
                <c:ptCount val="0"/>
              </c:numCache>
            </c:numRef>
          </c:xVal>
          <c:yVal>
            <c:numRef>
              <c:f>Sheet1!$B$17:$B$16</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18</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9:$A$20</c:f>
              <c:numCache>
                <c:formatCode>General</c:formatCode>
                <c:ptCount val="2"/>
                <c:pt idx="0">
                  <c:v>0</c:v>
                </c:pt>
                <c:pt idx="1">
                  <c:v>0.013177088284256639</c:v>
                </c:pt>
              </c:numCache>
            </c:numRef>
          </c:xVal>
          <c:yVal>
            <c:numRef>
              <c:f>Sheet1!$B$19:$B$20</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5-096C-4121-9522-6AB7243CCAAE}"/>
            </c:ext>
          </c:extLst>
        </c:ser>
        <c:ser>
          <c:idx val="3"/>
          <c:order val="3"/>
          <c:tx>
            <c:strRef>
              <c:f>Sheet1!$B$22</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3:$A$24</c:f>
              <c:numCache>
                <c:formatCode>General</c:formatCode>
                <c:ptCount val="2"/>
                <c:pt idx="0">
                  <c:v>0.013177088284256639</c:v>
                </c:pt>
                <c:pt idx="1">
                  <c:v>0.013177088284256639</c:v>
                </c:pt>
              </c:numCache>
            </c:numRef>
          </c:xVal>
          <c:yVal>
            <c:numRef>
              <c:f>Sheet1!$B$23:$B$24</c:f>
              <c:numCache>
                <c:formatCode>General</c:formatCode>
                <c:ptCount val="2"/>
                <c:pt idx="0">
                  <c:v>0.01317708828425663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26</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27:$A$29</c:f>
              <c:numCache>
                <c:formatCode>General</c:formatCode>
                <c:ptCount val="3"/>
                <c:pt idx="0">
                  <c:v>0</c:v>
                </c:pt>
                <c:pt idx="1">
                  <c:v>0.013177088284256639</c:v>
                </c:pt>
                <c:pt idx="2">
                  <c:v>0</c:v>
                </c:pt>
              </c:numCache>
            </c:numRef>
          </c:xVal>
          <c:yVal>
            <c:numRef>
              <c:f>Sheet1!$B$27:$B$29</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ensi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85071451750537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4</c:f>
              <c:numCache>
                <c:formatCode>General</c:formatCode>
                <c:ptCount val="13"/>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numCache>
            </c:numRef>
          </c:xVal>
          <c:yVal>
            <c:numRef>
              <c:f>Sheet1!$B$2:$B$14</c:f>
              <c:numCache>
                <c:formatCode>General</c:formatCode>
                <c:ptCount val="13"/>
                <c:pt idx="0">
                  <c:v>0.03799413058303386</c:v>
                </c:pt>
                <c:pt idx="1">
                  <c:v>0.008104361762898348</c:v>
                </c:pt>
                <c:pt idx="2">
                  <c:v>0.0008563393146881723</c:v>
                </c:pt>
                <c:pt idx="3">
                  <c:v>0.005753521476406181</c:v>
                </c:pt>
                <c:pt idx="4">
                  <c:v>0.0070406440530518056</c:v>
                </c:pt>
                <c:pt idx="5">
                  <c:v>0.003117987294162268</c:v>
                </c:pt>
                <c:pt idx="6">
                  <c:v>0.004450659369333806</c:v>
                </c:pt>
                <c:pt idx="7">
                  <c:v>0.003482010456153492</c:v>
                </c:pt>
                <c:pt idx="8">
                  <c:v>0.002268965182881641</c:v>
                </c:pt>
                <c:pt idx="9">
                  <c:v>0.002584942636612478</c:v>
                </c:pt>
                <c:pt idx="10">
                  <c:v>0.002931561524470948</c:v>
                </c:pt>
                <c:pt idx="11">
                  <c:v>0.004303412556355956</c:v>
                </c:pt>
                <c:pt idx="12">
                  <c:v>0.0033376241140978488</c:v>
                </c:pt>
              </c:numCache>
            </c:numRef>
          </c:yVal>
          <c:smooth val="0"/>
          <c:extLst>
            <c:ext xmlns:c16="http://schemas.microsoft.com/office/drawing/2014/chart" uri="{C3380CC4-5D6E-409C-BE32-E72D297353CC}">
              <c16:uniqueId val="{00000000-F32D-48B7-BC20-E66FC6253BAD}"/>
            </c:ext>
          </c:extLst>
        </c:ser>
        <c:ser>
          <c:idx val="1"/>
          <c:order val="1"/>
          <c:tx>
            <c:strRef>
              <c:f>Sheet1!$B$16</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7:$A$16</c:f>
              <c:numCache>
                <c:formatCode>General</c:formatCode>
                <c:ptCount val="0"/>
              </c:numCache>
            </c:numRef>
          </c:xVal>
          <c:yVal>
            <c:numRef>
              <c:f>Sheet1!$B$17:$B$16</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18</c:f>
              <c:strCache>
                <c:ptCount val="1"/>
                <c:pt idx="0">
                  <c:v>Custom Linep3yQ</c:v>
                </c:pt>
              </c:strCache>
            </c:strRef>
          </c:tx>
          <c:spPr>
            <a:ln w="19050" cap="rnd">
              <a:solidFill>
                <a:srgbClr val="C00000"/>
              </a:solidFill>
              <a:prstDash val="sysDot"/>
              <a:round/>
            </a:ln>
            <a:effectLst/>
          </c:spPr>
          <c:marker>
            <c:symbol val="none"/>
          </c:marker>
          <c:xVal>
            <c:numRef>
              <c:f>Sheet1!$A$19:$A$20</c:f>
              <c:numCache>
                <c:formatCode>General</c:formatCode>
                <c:ptCount val="2"/>
                <c:pt idx="0">
                  <c:v>0</c:v>
                </c:pt>
                <c:pt idx="1">
                  <c:v>0.013177088284256639</c:v>
                </c:pt>
              </c:numCache>
            </c:numRef>
          </c:xVal>
          <c:yVal>
            <c:numRef>
              <c:f>Sheet1!$B$19:$B$20</c:f>
              <c:numCache>
                <c:formatCode>General</c:formatCode>
                <c:ptCount val="2"/>
                <c:pt idx="0">
                  <c:v>0.013177088284256639</c:v>
                </c:pt>
                <c:pt idx="1">
                  <c:v>0.013177088284256639</c:v>
                </c:pt>
              </c:numCache>
            </c:numRef>
          </c:yVal>
          <c:smooth val="0"/>
          <c:extLst>
            <c:ext xmlns:c16="http://schemas.microsoft.com/office/drawing/2014/chart" uri="{C3380CC4-5D6E-409C-BE32-E72D297353CC}">
              <c16:uniqueId val="{00000003-F32D-48B7-BC20-E66FC6253BAD}"/>
            </c:ext>
          </c:extLst>
        </c:ser>
        <c:ser>
          <c:idx val="3"/>
          <c:order val="3"/>
          <c:tx>
            <c:strRef>
              <c:f>Sheet1!$B$22</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3:$A$24</c:f>
              <c:numCache>
                <c:formatCode>General</c:formatCode>
                <c:ptCount val="2"/>
                <c:pt idx="0">
                  <c:v>0.013177088284256639</c:v>
                </c:pt>
                <c:pt idx="1">
                  <c:v>0.013177088284256639</c:v>
                </c:pt>
              </c:numCache>
            </c:numRef>
          </c:xVal>
          <c:yVal>
            <c:numRef>
              <c:f>Sheet1!$B$23:$B$24</c:f>
              <c:numCache>
                <c:formatCode>General</c:formatCode>
                <c:ptCount val="2"/>
                <c:pt idx="0">
                  <c:v>0.01317708828425663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26</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27:$A$29</c:f>
              <c:numCache>
                <c:formatCode>General</c:formatCode>
                <c:ptCount val="3"/>
                <c:pt idx="0">
                  <c:v>0</c:v>
                </c:pt>
                <c:pt idx="1">
                  <c:v>0.013177088284256639</c:v>
                </c:pt>
                <c:pt idx="2">
                  <c:v>0</c:v>
                </c:pt>
              </c:numCache>
            </c:numRef>
          </c:xVal>
          <c:yVal>
            <c:numRef>
              <c:f>Sheet1!$B$27:$B$29</c:f>
              <c:numCache>
                <c:formatCode>General</c:formatCode>
                <c:ptCount val="3"/>
                <c:pt idx="0">
                  <c:v>0</c:v>
                </c:pt>
                <c:pt idx="1">
                  <c:v>0.013177088284256639</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559295669964063"/>
          <c:min val="0.000685071451750537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7185226793989608</c:v>
                </c:pt>
                <c:pt idx="1">
                  <c:v>0.7133908255849883</c:v>
                </c:pt>
                <c:pt idx="2">
                  <c:v>0.7799280939273074</c:v>
                </c:pt>
                <c:pt idx="3">
                  <c:v>0.8423536020221879</c:v>
                </c:pt>
                <c:pt idx="4">
                  <c:v>0.8500589987076473</c:v>
                </c:pt>
                <c:pt idx="5">
                  <c:v>0.8451341103777559</c:v>
                </c:pt>
                <c:pt idx="6">
                  <c:v>0.7944116821117664</c:v>
                </c:pt>
                <c:pt idx="7">
                  <c:v>0.6385829868524553</c:v>
                </c:pt>
                <c:pt idx="8">
                  <c:v>0.6305752162678351</c:v>
                </c:pt>
                <c:pt idx="9">
                  <c:v>0.6377121024834251</c:v>
                </c:pt>
                <c:pt idx="10">
                  <c:v>0.6245013764818248</c:v>
                </c:pt>
                <c:pt idx="11">
                  <c:v>0.7609257386810471</c:v>
                </c:pt>
                <c:pt idx="12">
                  <c:v>0.8454193113520194</c:v>
                </c:pt>
                <c:pt idx="13">
                  <c:v>0.8410540214062984</c:v>
                </c:pt>
                <c:pt idx="14">
                  <c:v>0.8460868588122927</c:v>
                </c:pt>
                <c:pt idx="15">
                  <c:v>0.8448057966130256</c:v>
                </c:pt>
                <c:pt idx="16">
                  <c:v>0.7511940214642917</c:v>
                </c:pt>
                <c:pt idx="17">
                  <c:v>0.7164527093457682</c:v>
                </c:pt>
                <c:pt idx="18">
                  <c:v>0.7176612721959991</c:v>
                </c:pt>
                <c:pt idx="19">
                  <c:v>0.7974434611602753</c:v>
                </c:pt>
                <c:pt idx="20">
                  <c:v>0.8929303710361487</c:v>
                </c:pt>
                <c:pt idx="21">
                  <c:v>0.8657227934153604</c:v>
                </c:pt>
                <c:pt idx="22">
                  <c:v>0.7936071007246784</c:v>
                </c:pt>
                <c:pt idx="23">
                  <c:v>0.7312305142825044</c:v>
                </c:pt>
                <c:pt idx="24">
                  <c:v>0.7347695418925372</c:v>
                </c:pt>
                <c:pt idx="25">
                  <c:v>0.8322330533471922</c:v>
                </c:pt>
                <c:pt idx="26">
                  <c:v>0.858073940892235</c:v>
                </c:pt>
                <c:pt idx="27">
                  <c:v>0.8832336170332294</c:v>
                </c:pt>
                <c:pt idx="28">
                  <c:v>0.7792725740766746</c:v>
                </c:pt>
                <c:pt idx="29">
                  <c:v>0.7388007302345176</c:v>
                </c:pt>
                <c:pt idx="30">
                  <c:v>0.7366986909376931</c:v>
                </c:pt>
                <c:pt idx="31">
                  <c:v>0.8223695298016965</c:v>
                </c:pt>
                <c:pt idx="32">
                  <c:v>0.8743820224719101</c:v>
                </c:pt>
                <c:pt idx="33">
                  <c:v>0.8722436023483807</c:v>
                </c:pt>
                <c:pt idx="34">
                  <c:v>0.7735647680035951</c:v>
                </c:pt>
                <c:pt idx="35">
                  <c:v>0.737143659598371</c:v>
                </c:pt>
                <c:pt idx="36">
                  <c:v>0.7455342096393663</c:v>
                </c:pt>
                <c:pt idx="37">
                  <c:v>0.793479176612654</c:v>
                </c:pt>
                <c:pt idx="38">
                  <c:v>0.8713093800039329</c:v>
                </c:pt>
                <c:pt idx="39">
                  <c:v>0.872878975165749</c:v>
                </c:pt>
                <c:pt idx="40">
                  <c:v>0.8753616674625693</c:v>
                </c:pt>
                <c:pt idx="41">
                  <c:v>0.7461802044714076</c:v>
                </c:pt>
                <c:pt idx="42">
                  <c:v>0.7429791058189171</c:v>
                </c:pt>
                <c:pt idx="43">
                  <c:v>0.7390962451203414</c:v>
                </c:pt>
              </c:numCache>
            </c:numRef>
          </c:xVal>
          <c:yVal>
            <c:numRef>
              <c:f>Sheet1!$B$2:$B$45</c:f>
              <c:numCache>
                <c:formatCode>General</c:formatCode>
                <c:ptCount val="44"/>
                <c:pt idx="0">
                  <c:v>0.923998824141284</c:v>
                </c:pt>
                <c:pt idx="1">
                  <c:v>0.9199002649213028</c:v>
                </c:pt>
                <c:pt idx="2">
                  <c:v>0.9285211448979241</c:v>
                </c:pt>
                <c:pt idx="3">
                  <c:v>0.9181637504384085</c:v>
                </c:pt>
                <c:pt idx="4">
                  <c:v>0.9149200465327207</c:v>
                </c:pt>
                <c:pt idx="5">
                  <c:v>0.9160847508206506</c:v>
                </c:pt>
                <c:pt idx="6">
                  <c:v>0.9216634806694496</c:v>
                </c:pt>
                <c:pt idx="7">
                  <c:v>0.9544324314368334</c:v>
                </c:pt>
                <c:pt idx="8">
                  <c:v>0.9431651906045437</c:v>
                </c:pt>
                <c:pt idx="9">
                  <c:v>0.943327393565787</c:v>
                </c:pt>
                <c:pt idx="10">
                  <c:v>0.9469045571797077</c:v>
                </c:pt>
                <c:pt idx="11">
                  <c:v>0.9403435182519774</c:v>
                </c:pt>
                <c:pt idx="12">
                  <c:v>0.9138730490716442</c:v>
                </c:pt>
                <c:pt idx="13">
                  <c:v>0.9230122954130515</c:v>
                </c:pt>
                <c:pt idx="14">
                  <c:v>0.9360229407693068</c:v>
                </c:pt>
                <c:pt idx="15">
                  <c:v>0.9372759568551174</c:v>
                </c:pt>
                <c:pt idx="16">
                  <c:v>0.9517192178613774</c:v>
                </c:pt>
                <c:pt idx="17">
                  <c:v>0.9445575985728533</c:v>
                </c:pt>
                <c:pt idx="18">
                  <c:v>0.931594434555164</c:v>
                </c:pt>
                <c:pt idx="19">
                  <c:v>0.916500727150688</c:v>
                </c:pt>
                <c:pt idx="20">
                  <c:v>0.9024308312465644</c:v>
                </c:pt>
                <c:pt idx="21">
                  <c:v>0.9396336721285098</c:v>
                </c:pt>
                <c:pt idx="22">
                  <c:v>0.9489967574420363</c:v>
                </c:pt>
                <c:pt idx="23">
                  <c:v>0.9356364544631428</c:v>
                </c:pt>
                <c:pt idx="24">
                  <c:v>0.9276786416162252</c:v>
                </c:pt>
                <c:pt idx="25">
                  <c:v>0.9254725333949263</c:v>
                </c:pt>
                <c:pt idx="26">
                  <c:v>0.9314639241523381</c:v>
                </c:pt>
                <c:pt idx="27">
                  <c:v>0.9284971797624525</c:v>
                </c:pt>
                <c:pt idx="28">
                  <c:v>0.9405412177399148</c:v>
                </c:pt>
                <c:pt idx="29">
                  <c:v>0.9464607726106723</c:v>
                </c:pt>
                <c:pt idx="30">
                  <c:v>0.9341920747133915</c:v>
                </c:pt>
                <c:pt idx="31">
                  <c:v>0.9144554149953718</c:v>
                </c:pt>
                <c:pt idx="32">
                  <c:v>0.911655988171513</c:v>
                </c:pt>
                <c:pt idx="33">
                  <c:v>0.9441517506628282</c:v>
                </c:pt>
                <c:pt idx="34">
                  <c:v>0.9294982636113976</c:v>
                </c:pt>
                <c:pt idx="35">
                  <c:v>0.9347924790342397</c:v>
                </c:pt>
                <c:pt idx="36">
                  <c:v>0.9423397585539919</c:v>
                </c:pt>
                <c:pt idx="37">
                  <c:v>0.9026514299732199</c:v>
                </c:pt>
                <c:pt idx="38">
                  <c:v>0.9196474489705438</c:v>
                </c:pt>
                <c:pt idx="39">
                  <c:v>0.9168016194331984</c:v>
                </c:pt>
                <c:pt idx="40">
                  <c:v>0.9244649759592721</c:v>
                </c:pt>
                <c:pt idx="41">
                  <c:v>0.935184109652689</c:v>
                </c:pt>
                <c:pt idx="42">
                  <c:v>0.912592403772623</c:v>
                </c:pt>
                <c:pt idx="43">
                  <c:v>0.920648926453969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8523199640489834</c:v>
                </c:pt>
                <c:pt idx="1">
                  <c:v>0.881784470165187</c:v>
                </c:pt>
                <c:pt idx="2">
                  <c:v>0.8837130896524598</c:v>
                </c:pt>
                <c:pt idx="3">
                  <c:v>0.8806586674909377</c:v>
                </c:pt>
                <c:pt idx="4">
                  <c:v>0.8836001123279977</c:v>
                </c:pt>
                <c:pt idx="5">
                  <c:v>0.882752808988764</c:v>
                </c:pt>
                <c:pt idx="6">
                  <c:v>0.8843107516009436</c:v>
                </c:pt>
                <c:pt idx="7">
                  <c:v>0.9079342788934137</c:v>
                </c:pt>
                <c:pt idx="8">
                  <c:v>0.8518591327791508</c:v>
                </c:pt>
                <c:pt idx="9">
                  <c:v>0.7761114387620411</c:v>
                </c:pt>
                <c:pt idx="10">
                  <c:v>0.7729239240364086</c:v>
                </c:pt>
                <c:pt idx="11">
                  <c:v>0.8665486924524592</c:v>
                </c:pt>
                <c:pt idx="12">
                  <c:v>0.9175584955478779</c:v>
                </c:pt>
                <c:pt idx="13">
                  <c:v>0.8985539800645795</c:v>
                </c:pt>
                <c:pt idx="14">
                  <c:v>0.8122524648184041</c:v>
                </c:pt>
                <c:pt idx="15">
                  <c:v>0.7502387238105938</c:v>
                </c:pt>
                <c:pt idx="16">
                  <c:v>0.753019493286894</c:v>
                </c:pt>
                <c:pt idx="17">
                  <c:v>0.7879843763171944</c:v>
                </c:pt>
                <c:pt idx="18">
                  <c:v>0.8940687485958212</c:v>
                </c:pt>
                <c:pt idx="19">
                  <c:v>0.8944988907921709</c:v>
                </c:pt>
                <c:pt idx="20">
                  <c:v>0.8188075972128568</c:v>
                </c:pt>
                <c:pt idx="21">
                  <c:v>0.7530753243835309</c:v>
                </c:pt>
                <c:pt idx="22">
                  <c:v>0.7557721476321555</c:v>
                </c:pt>
                <c:pt idx="23">
                  <c:v>0.8094448814473536</c:v>
                </c:pt>
                <c:pt idx="24">
                  <c:v>0.8918653300760958</c:v>
                </c:pt>
                <c:pt idx="25">
                  <c:v>0.8996376506277913</c:v>
                </c:pt>
                <c:pt idx="26">
                  <c:v>0.8214676889375684</c:v>
                </c:pt>
                <c:pt idx="27">
                  <c:v>0.755056179775281</c:v>
                </c:pt>
                <c:pt idx="28">
                  <c:v>0.7535250828605135</c:v>
                </c:pt>
                <c:pt idx="29">
                  <c:v>0.8023481167317361</c:v>
                </c:pt>
                <c:pt idx="30">
                  <c:v>0.8967444734698463</c:v>
                </c:pt>
                <c:pt idx="31">
                  <c:v>0.8935524652338812</c:v>
                </c:pt>
                <c:pt idx="32">
                  <c:v>0.8927578557187384</c:v>
                </c:pt>
                <c:pt idx="33">
                  <c:v>0.897544667940218</c:v>
                </c:pt>
                <c:pt idx="34">
                  <c:v>0.817428434980476</c:v>
                </c:pt>
                <c:pt idx="35">
                  <c:v>0.7542470446185382</c:v>
                </c:pt>
                <c:pt idx="36">
                  <c:v>0.7546205269366889</c:v>
                </c:pt>
                <c:pt idx="37">
                  <c:v>0.7533069340298256</c:v>
                </c:pt>
                <c:pt idx="38">
                  <c:v>0.8050554697373964</c:v>
                </c:pt>
                <c:pt idx="39">
                  <c:v>0.8940492245448416</c:v>
                </c:pt>
                <c:pt idx="40">
                  <c:v>0.8928882519879738</c:v>
                </c:pt>
                <c:pt idx="41">
                  <c:v>0.8123578149136357</c:v>
                </c:pt>
                <c:pt idx="42">
                  <c:v>0.7538621425762597</c:v>
                </c:pt>
                <c:pt idx="43">
                  <c:v>0.75609413614918</c:v>
                </c:pt>
                <c:pt idx="44">
                  <c:v>0.8059940452783552</c:v>
                </c:pt>
                <c:pt idx="45">
                  <c:v>0.8956531506233854</c:v>
                </c:pt>
                <c:pt idx="46">
                  <c:v>0.895423000196679</c:v>
                </c:pt>
                <c:pt idx="47">
                  <c:v>0.8120207835978093</c:v>
                </c:pt>
                <c:pt idx="48">
                  <c:v>0.7529986797381949</c:v>
                </c:pt>
                <c:pt idx="49">
                  <c:v>0.751867452962651</c:v>
                </c:pt>
                <c:pt idx="50">
                  <c:v>0.7541573033707866</c:v>
                </c:pt>
                <c:pt idx="51">
                  <c:v>0.8793515214520525</c:v>
                </c:pt>
              </c:numCache>
            </c:numRef>
          </c:xVal>
          <c:yVal>
            <c:numRef>
              <c:f>Sheet1!$B$48:$B$99</c:f>
              <c:numCache>
                <c:formatCode>General</c:formatCode>
                <c:ptCount val="52"/>
                <c:pt idx="0">
                  <c:v>0.9330344634351359</c:v>
                </c:pt>
                <c:pt idx="1">
                  <c:v>0.926725476229613</c:v>
                </c:pt>
                <c:pt idx="2">
                  <c:v>0.9230279791705038</c:v>
                </c:pt>
                <c:pt idx="3">
                  <c:v>0.9187745292968412</c:v>
                </c:pt>
                <c:pt idx="4">
                  <c:v>0.9422374129091626</c:v>
                </c:pt>
                <c:pt idx="5">
                  <c:v>0.9367315185812439</c:v>
                </c:pt>
                <c:pt idx="6">
                  <c:v>0.9313522342214963</c:v>
                </c:pt>
                <c:pt idx="7">
                  <c:v>0.9423012242701466</c:v>
                </c:pt>
                <c:pt idx="8">
                  <c:v>0.9511480214948705</c:v>
                </c:pt>
                <c:pt idx="9">
                  <c:v>0.9424725319825049</c:v>
                </c:pt>
                <c:pt idx="10">
                  <c:v>0.944814744532473</c:v>
                </c:pt>
                <c:pt idx="11">
                  <c:v>0.9347346194452443</c:v>
                </c:pt>
                <c:pt idx="12">
                  <c:v>0.9233167718153075</c:v>
                </c:pt>
                <c:pt idx="13">
                  <c:v>0.9433755312828481</c:v>
                </c:pt>
                <c:pt idx="14">
                  <c:v>0.9541690668202765</c:v>
                </c:pt>
                <c:pt idx="15">
                  <c:v>0.948404568229304</c:v>
                </c:pt>
                <c:pt idx="16">
                  <c:v>0.9452005249506567</c:v>
                </c:pt>
                <c:pt idx="17">
                  <c:v>0.9392130005186378</c:v>
                </c:pt>
                <c:pt idx="18">
                  <c:v>0.9373758807366903</c:v>
                </c:pt>
                <c:pt idx="19">
                  <c:v>0.9432566796463645</c:v>
                </c:pt>
                <c:pt idx="20">
                  <c:v>0.9508288988948015</c:v>
                </c:pt>
                <c:pt idx="21">
                  <c:v>0.954762992532898</c:v>
                </c:pt>
                <c:pt idx="22">
                  <c:v>0.9409789945269926</c:v>
                </c:pt>
                <c:pt idx="23">
                  <c:v>0.9522867243257666</c:v>
                </c:pt>
                <c:pt idx="24">
                  <c:v>0.947952780567886</c:v>
                </c:pt>
                <c:pt idx="25">
                  <c:v>0.9441283807428885</c:v>
                </c:pt>
                <c:pt idx="26">
                  <c:v>0.9505942941938111</c:v>
                </c:pt>
                <c:pt idx="27">
                  <c:v>0.9550801943663001</c:v>
                </c:pt>
                <c:pt idx="28">
                  <c:v>0.9536255269826479</c:v>
                </c:pt>
                <c:pt idx="29">
                  <c:v>0.9453087863098526</c:v>
                </c:pt>
                <c:pt idx="30">
                  <c:v>0.9419117203067447</c:v>
                </c:pt>
                <c:pt idx="31">
                  <c:v>0.9480310710597953</c:v>
                </c:pt>
                <c:pt idx="32">
                  <c:v>0.921006867029341</c:v>
                </c:pt>
                <c:pt idx="33">
                  <c:v>0.9477825800995959</c:v>
                </c:pt>
                <c:pt idx="34">
                  <c:v>0.95110890284114</c:v>
                </c:pt>
                <c:pt idx="35">
                  <c:v>0.9561966672934519</c:v>
                </c:pt>
                <c:pt idx="36">
                  <c:v>0.9508590542800669</c:v>
                </c:pt>
                <c:pt idx="37">
                  <c:v>0.951601934059382</c:v>
                </c:pt>
                <c:pt idx="38">
                  <c:v>0.9492346914952232</c:v>
                </c:pt>
                <c:pt idx="39">
                  <c:v>0.9461316593145572</c:v>
                </c:pt>
                <c:pt idx="40">
                  <c:v>0.9499377625641824</c:v>
                </c:pt>
                <c:pt idx="41">
                  <c:v>0.9536072751099507</c:v>
                </c:pt>
                <c:pt idx="42">
                  <c:v>0.9433886798979547</c:v>
                </c:pt>
                <c:pt idx="43">
                  <c:v>0.9476717875431702</c:v>
                </c:pt>
                <c:pt idx="44">
                  <c:v>0.9507087747794307</c:v>
                </c:pt>
                <c:pt idx="45">
                  <c:v>0.9410016257006284</c:v>
                </c:pt>
                <c:pt idx="46">
                  <c:v>0.9373557575834853</c:v>
                </c:pt>
                <c:pt idx="47">
                  <c:v>0.9515864438932989</c:v>
                </c:pt>
                <c:pt idx="48">
                  <c:v>0.9485339251145002</c:v>
                </c:pt>
                <c:pt idx="49">
                  <c:v>0.9547419885049048</c:v>
                </c:pt>
                <c:pt idx="50">
                  <c:v>0.931488649783493</c:v>
                </c:pt>
                <c:pt idx="51">
                  <c:v>0.943720286296431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778319345336169</c:v>
                </c:pt>
              </c:numCache>
            </c:numRef>
          </c:xVal>
          <c:yVal>
            <c:numRef>
              <c:f>Sheet1!$B$102:$B$103</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778319345336169</c:v>
                </c:pt>
                <c:pt idx="1">
                  <c:v>0.778319345336169</c:v>
                </c:pt>
              </c:numCache>
            </c:numRef>
          </c:xVal>
          <c:yVal>
            <c:numRef>
              <c:f>Sheet1!$B$106:$B$107</c:f>
              <c:numCache>
                <c:formatCode>General</c:formatCode>
                <c:ptCount val="2"/>
                <c:pt idx="0">
                  <c:v>0.94787248387056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778319345336169</c:v>
                </c:pt>
              </c:numCache>
            </c:numRef>
          </c:xVal>
          <c:yVal>
            <c:numRef>
              <c:f>Sheet1!$B$110:$B$111</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778319345336169</c:v>
                </c:pt>
                <c:pt idx="1">
                  <c:v>0.778319345336169</c:v>
                </c:pt>
              </c:numCache>
            </c:numRef>
          </c:xVal>
          <c:yVal>
            <c:numRef>
              <c:f>Sheet1!$B$114:$B$115</c:f>
              <c:numCache>
                <c:formatCode>General</c:formatCode>
                <c:ptCount val="2"/>
                <c:pt idx="0">
                  <c:v>0.94787248387056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00416101929342</c:v>
                </c:pt>
              </c:numCache>
            </c:numRef>
          </c:xVal>
          <c:yVal>
            <c:numRef>
              <c:f>Sheet1!$B$118:$B$119</c:f>
              <c:numCache>
                <c:formatCode>General</c:formatCode>
                <c:ptCount val="2"/>
                <c:pt idx="0">
                  <c:v>0.9461442012373836</c:v>
                </c:pt>
                <c:pt idx="1">
                  <c:v>0.946144201237383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00416101929342</c:v>
                </c:pt>
                <c:pt idx="1">
                  <c:v>0.800416101929342</c:v>
                </c:pt>
              </c:numCache>
            </c:numRef>
          </c:xVal>
          <c:yVal>
            <c:numRef>
              <c:f>Sheet1!$B$122:$B$123</c:f>
              <c:numCache>
                <c:formatCode>General</c:formatCode>
                <c:ptCount val="2"/>
                <c:pt idx="0">
                  <c:v>0.9461442012373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8523199640489834</c:v>
                </c:pt>
                <c:pt idx="1">
                  <c:v>0.881784470165187</c:v>
                </c:pt>
                <c:pt idx="2">
                  <c:v>0.8837130896524598</c:v>
                </c:pt>
                <c:pt idx="3">
                  <c:v>0.8806586674909377</c:v>
                </c:pt>
                <c:pt idx="4">
                  <c:v>0.8836001123279977</c:v>
                </c:pt>
                <c:pt idx="5">
                  <c:v>0.882752808988764</c:v>
                </c:pt>
                <c:pt idx="6">
                  <c:v>0.8843107516009436</c:v>
                </c:pt>
                <c:pt idx="7">
                  <c:v>0.9079342788934137</c:v>
                </c:pt>
                <c:pt idx="8">
                  <c:v>0.8518591327791508</c:v>
                </c:pt>
                <c:pt idx="9">
                  <c:v>0.7761114387620411</c:v>
                </c:pt>
                <c:pt idx="10">
                  <c:v>0.7729239240364086</c:v>
                </c:pt>
                <c:pt idx="11">
                  <c:v>0.8665486924524592</c:v>
                </c:pt>
                <c:pt idx="12">
                  <c:v>0.9175584955478779</c:v>
                </c:pt>
                <c:pt idx="13">
                  <c:v>0.8985539800645795</c:v>
                </c:pt>
                <c:pt idx="14">
                  <c:v>0.8122524648184041</c:v>
                </c:pt>
                <c:pt idx="15">
                  <c:v>0.7502387238105938</c:v>
                </c:pt>
                <c:pt idx="16">
                  <c:v>0.753019493286894</c:v>
                </c:pt>
                <c:pt idx="17">
                  <c:v>0.7879843763171944</c:v>
                </c:pt>
                <c:pt idx="18">
                  <c:v>0.8940687485958212</c:v>
                </c:pt>
                <c:pt idx="19">
                  <c:v>0.8944988907921709</c:v>
                </c:pt>
                <c:pt idx="20">
                  <c:v>0.8188075972128568</c:v>
                </c:pt>
                <c:pt idx="21">
                  <c:v>0.7530753243835309</c:v>
                </c:pt>
                <c:pt idx="22">
                  <c:v>0.7557721476321555</c:v>
                </c:pt>
                <c:pt idx="23">
                  <c:v>0.8094448814473536</c:v>
                </c:pt>
                <c:pt idx="24">
                  <c:v>0.8918653300760958</c:v>
                </c:pt>
                <c:pt idx="25">
                  <c:v>0.8996376506277913</c:v>
                </c:pt>
                <c:pt idx="26">
                  <c:v>0.8214676889375684</c:v>
                </c:pt>
                <c:pt idx="27">
                  <c:v>0.755056179775281</c:v>
                </c:pt>
                <c:pt idx="28">
                  <c:v>0.7535250828605135</c:v>
                </c:pt>
                <c:pt idx="29">
                  <c:v>0.8023481167317361</c:v>
                </c:pt>
                <c:pt idx="30">
                  <c:v>0.8967444734698463</c:v>
                </c:pt>
                <c:pt idx="31">
                  <c:v>0.8935524652338812</c:v>
                </c:pt>
                <c:pt idx="32">
                  <c:v>0.8927578557187384</c:v>
                </c:pt>
                <c:pt idx="33">
                  <c:v>0.897544667940218</c:v>
                </c:pt>
                <c:pt idx="34">
                  <c:v>0.817428434980476</c:v>
                </c:pt>
                <c:pt idx="35">
                  <c:v>0.7542470446185382</c:v>
                </c:pt>
                <c:pt idx="36">
                  <c:v>0.7546205269366889</c:v>
                </c:pt>
                <c:pt idx="37">
                  <c:v>0.7533069340298256</c:v>
                </c:pt>
                <c:pt idx="38">
                  <c:v>0.8050554697373964</c:v>
                </c:pt>
                <c:pt idx="39">
                  <c:v>0.8940492245448416</c:v>
                </c:pt>
                <c:pt idx="40">
                  <c:v>0.8928882519879738</c:v>
                </c:pt>
                <c:pt idx="41">
                  <c:v>0.8123578149136357</c:v>
                </c:pt>
                <c:pt idx="42">
                  <c:v>0.7538621425762597</c:v>
                </c:pt>
                <c:pt idx="43">
                  <c:v>0.75609413614918</c:v>
                </c:pt>
                <c:pt idx="44">
                  <c:v>0.8059940452783552</c:v>
                </c:pt>
                <c:pt idx="45">
                  <c:v>0.8956531506233854</c:v>
                </c:pt>
                <c:pt idx="46">
                  <c:v>0.895423000196679</c:v>
                </c:pt>
                <c:pt idx="47">
                  <c:v>0.8120207835978093</c:v>
                </c:pt>
                <c:pt idx="48">
                  <c:v>0.7529986797381949</c:v>
                </c:pt>
                <c:pt idx="49">
                  <c:v>0.751867452962651</c:v>
                </c:pt>
                <c:pt idx="50">
                  <c:v>0.7541573033707866</c:v>
                </c:pt>
                <c:pt idx="51">
                  <c:v>0.8793515214520525</c:v>
                </c:pt>
                <c:pt idx="52">
                  <c:v>0.778319345336169</c:v>
                </c:pt>
                <c:pt idx="53">
                  <c:v>0.778319345336169</c:v>
                </c:pt>
                <c:pt idx="54">
                  <c:v>0.800416101929342</c:v>
                </c:pt>
              </c:numCache>
            </c:numRef>
          </c:xVal>
          <c:yVal>
            <c:numRef>
              <c:f>Sheet1!$B$126:$B$180</c:f>
              <c:numCache>
                <c:formatCode>General</c:formatCode>
                <c:ptCount val="55"/>
                <c:pt idx="0">
                  <c:v>0.9420845763273565</c:v>
                </c:pt>
                <c:pt idx="1">
                  <c:v>0.9397800302279686</c:v>
                </c:pt>
                <c:pt idx="2">
                  <c:v>0.9396291845800195</c:v>
                </c:pt>
                <c:pt idx="3">
                  <c:v>0.9398680841105413</c:v>
                </c:pt>
                <c:pt idx="4">
                  <c:v>0.9396380210238201</c:v>
                </c:pt>
                <c:pt idx="5">
                  <c:v>0.9397042922722751</c:v>
                </c:pt>
                <c:pt idx="6">
                  <c:v>0.9395824388614014</c:v>
                </c:pt>
                <c:pt idx="7">
                  <c:v>0.937734740907092</c:v>
                </c:pt>
                <c:pt idx="8">
                  <c:v>0.942120619928467</c:v>
                </c:pt>
                <c:pt idx="9">
                  <c:v>0.9480451737661014</c:v>
                </c:pt>
                <c:pt idx="10">
                  <c:v>0.9482944830400708</c:v>
                </c:pt>
                <c:pt idx="11">
                  <c:v>0.9409716861125279</c:v>
                </c:pt>
                <c:pt idx="12">
                  <c:v>0.9369819894147291</c:v>
                </c:pt>
                <c:pt idx="13">
                  <c:v>0.938468414534331</c:v>
                </c:pt>
                <c:pt idx="14">
                  <c:v>0.9452184282473546</c:v>
                </c:pt>
                <c:pt idx="15">
                  <c:v>0.9500687903876318</c:v>
                </c:pt>
                <c:pt idx="16">
                  <c:v>0.9498512944138445</c:v>
                </c:pt>
                <c:pt idx="17">
                  <c:v>0.9471165401136963</c:v>
                </c:pt>
                <c:pt idx="18">
                  <c:v>0.93881922383164</c:v>
                </c:pt>
                <c:pt idx="19">
                  <c:v>0.938785580555324</c:v>
                </c:pt>
                <c:pt idx="20">
                  <c:v>0.9447057230714718</c:v>
                </c:pt>
                <c:pt idx="21">
                  <c:v>0.9498469276229853</c:v>
                </c:pt>
                <c:pt idx="22">
                  <c:v>0.9496359974457121</c:v>
                </c:pt>
                <c:pt idx="23">
                  <c:v>0.9454380214514946</c:v>
                </c:pt>
                <c:pt idx="24">
                  <c:v>0.9389915626970846</c:v>
                </c:pt>
                <c:pt idx="25">
                  <c:v>0.938383655985872</c:v>
                </c:pt>
                <c:pt idx="26">
                  <c:v>0.9444976658251015</c:v>
                </c:pt>
                <c:pt idx="27">
                  <c:v>0.9496919963796614</c:v>
                </c:pt>
                <c:pt idx="28">
                  <c:v>0.949811750072759</c:v>
                </c:pt>
                <c:pt idx="29">
                  <c:v>0.9459930900271954</c:v>
                </c:pt>
                <c:pt idx="30">
                  <c:v>0.9386099438492383</c:v>
                </c:pt>
                <c:pt idx="31">
                  <c:v>0.9388596045800308</c:v>
                </c:pt>
                <c:pt idx="32">
                  <c:v>0.9389217544172429</c:v>
                </c:pt>
                <c:pt idx="33">
                  <c:v>0.9385473571885907</c:v>
                </c:pt>
                <c:pt idx="34">
                  <c:v>0.9448135932977881</c:v>
                </c:pt>
                <c:pt idx="35">
                  <c:v>0.94975528232995</c:v>
                </c:pt>
                <c:pt idx="36">
                  <c:v>0.9497260706670737</c:v>
                </c:pt>
                <c:pt idx="37">
                  <c:v>0.9498288124336506</c:v>
                </c:pt>
                <c:pt idx="38">
                  <c:v>0.9457813362722113</c:v>
                </c:pt>
                <c:pt idx="39">
                  <c:v>0.9388207508918714</c:v>
                </c:pt>
                <c:pt idx="40">
                  <c:v>0.9389115555626463</c:v>
                </c:pt>
                <c:pt idx="41">
                  <c:v>0.9452101883620472</c:v>
                </c:pt>
                <c:pt idx="42">
                  <c:v>0.949785387178702</c:v>
                </c:pt>
                <c:pt idx="43">
                  <c:v>0.949610813335107</c:v>
                </c:pt>
                <c:pt idx="44">
                  <c:v>0.9457079262312159</c:v>
                </c:pt>
                <c:pt idx="45">
                  <c:v>0.9386953009157735</c:v>
                </c:pt>
                <c:pt idx="46">
                  <c:v>0.9387133019732508</c:v>
                </c:pt>
                <c:pt idx="47">
                  <c:v>0.945236549034824</c:v>
                </c:pt>
                <c:pt idx="48">
                  <c:v>0.949852922331254</c:v>
                </c:pt>
                <c:pt idx="49">
                  <c:v>0.9499414004561824</c:v>
                </c:pt>
                <c:pt idx="50">
                  <c:v>0.9497623013799773</c:v>
                </c:pt>
                <c:pt idx="51">
                  <c:v>0.9399703216397693</c:v>
                </c:pt>
                <c:pt idx="52">
                  <c:v>0.9478724838705657</c:v>
                </c:pt>
                <c:pt idx="53">
                  <c:v>0.9478724838705657</c:v>
                </c:pt>
                <c:pt idx="54">
                  <c:v>0.9461442012373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74360007521422"/>
          <c:min val="0.72194466499725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5583</c:v>
                </c:pt>
                <c:pt idx="1">
                  <c:v>2.5396</c:v>
                </c:pt>
                <c:pt idx="2">
                  <c:v>2.7767</c:v>
                </c:pt>
                <c:pt idx="3">
                  <c:v>2.9992</c:v>
                </c:pt>
                <c:pt idx="4">
                  <c:v>3.0257</c:v>
                </c:pt>
                <c:pt idx="5">
                  <c:v>3.0091</c:v>
                </c:pt>
                <c:pt idx="6">
                  <c:v>2.8289</c:v>
                </c:pt>
                <c:pt idx="7">
                  <c:v>2.2731</c:v>
                </c:pt>
                <c:pt idx="8">
                  <c:v>2.2451</c:v>
                </c:pt>
                <c:pt idx="9">
                  <c:v>2.27</c:v>
                </c:pt>
                <c:pt idx="10">
                  <c:v>2.2231</c:v>
                </c:pt>
                <c:pt idx="11">
                  <c:v>2.7092</c:v>
                </c:pt>
                <c:pt idx="12">
                  <c:v>3.0102</c:v>
                </c:pt>
                <c:pt idx="13">
                  <c:v>2.9939</c:v>
                </c:pt>
                <c:pt idx="14">
                  <c:v>3.0119</c:v>
                </c:pt>
                <c:pt idx="15">
                  <c:v>3.0081</c:v>
                </c:pt>
                <c:pt idx="16">
                  <c:v>2.6738</c:v>
                </c:pt>
                <c:pt idx="17">
                  <c:v>2.5505</c:v>
                </c:pt>
                <c:pt idx="18">
                  <c:v>2.5543</c:v>
                </c:pt>
                <c:pt idx="19">
                  <c:v>2.8385</c:v>
                </c:pt>
                <c:pt idx="20">
                  <c:v>3.1791</c:v>
                </c:pt>
                <c:pt idx="21">
                  <c:v>3.0818</c:v>
                </c:pt>
                <c:pt idx="22">
                  <c:v>2.8254</c:v>
                </c:pt>
                <c:pt idx="23">
                  <c:v>2.6034</c:v>
                </c:pt>
                <c:pt idx="24">
                  <c:v>2.616</c:v>
                </c:pt>
                <c:pt idx="25">
                  <c:v>2.9625</c:v>
                </c:pt>
                <c:pt idx="26">
                  <c:v>3.0544</c:v>
                </c:pt>
                <c:pt idx="27">
                  <c:v>3.1444</c:v>
                </c:pt>
                <c:pt idx="28">
                  <c:v>2.7746</c:v>
                </c:pt>
                <c:pt idx="29">
                  <c:v>2.6305</c:v>
                </c:pt>
                <c:pt idx="30">
                  <c:v>2.6225</c:v>
                </c:pt>
                <c:pt idx="31">
                  <c:v>2.9278</c:v>
                </c:pt>
                <c:pt idx="32">
                  <c:v>3.1128</c:v>
                </c:pt>
                <c:pt idx="33">
                  <c:v>3.1051</c:v>
                </c:pt>
                <c:pt idx="34">
                  <c:v>2.7542</c:v>
                </c:pt>
                <c:pt idx="35">
                  <c:v>2.6246</c:v>
                </c:pt>
                <c:pt idx="36">
                  <c:v>2.6544</c:v>
                </c:pt>
                <c:pt idx="37">
                  <c:v>2.8255</c:v>
                </c:pt>
                <c:pt idx="38">
                  <c:v>3.1016</c:v>
                </c:pt>
                <c:pt idx="39">
                  <c:v>3.1071</c:v>
                </c:pt>
                <c:pt idx="40">
                  <c:v>3.1162</c:v>
                </c:pt>
                <c:pt idx="41">
                  <c:v>2.6567</c:v>
                </c:pt>
                <c:pt idx="42">
                  <c:v>2.6456</c:v>
                </c:pt>
                <c:pt idx="43">
                  <c:v>2.6317</c:v>
                </c:pt>
              </c:numCache>
            </c:numRef>
          </c:xVal>
          <c:yVal>
            <c:numRef>
              <c:f>Sheet1!$B$2:$B$45</c:f>
              <c:numCache>
                <c:formatCode>General</c:formatCode>
                <c:ptCount val="44"/>
                <c:pt idx="0">
                  <c:v>0.923998824141284</c:v>
                </c:pt>
                <c:pt idx="1">
                  <c:v>0.9199002649213028</c:v>
                </c:pt>
                <c:pt idx="2">
                  <c:v>0.9285211448979241</c:v>
                </c:pt>
                <c:pt idx="3">
                  <c:v>0.9181637504384085</c:v>
                </c:pt>
                <c:pt idx="4">
                  <c:v>0.9149200465327207</c:v>
                </c:pt>
                <c:pt idx="5">
                  <c:v>0.9160847508206506</c:v>
                </c:pt>
                <c:pt idx="6">
                  <c:v>0.9216634806694496</c:v>
                </c:pt>
                <c:pt idx="7">
                  <c:v>0.9544324314368334</c:v>
                </c:pt>
                <c:pt idx="8">
                  <c:v>0.9431651906045437</c:v>
                </c:pt>
                <c:pt idx="9">
                  <c:v>0.943327393565787</c:v>
                </c:pt>
                <c:pt idx="10">
                  <c:v>0.9469045571797077</c:v>
                </c:pt>
                <c:pt idx="11">
                  <c:v>0.9403435182519774</c:v>
                </c:pt>
                <c:pt idx="12">
                  <c:v>0.9138730490716442</c:v>
                </c:pt>
                <c:pt idx="13">
                  <c:v>0.9230122954130515</c:v>
                </c:pt>
                <c:pt idx="14">
                  <c:v>0.9360229407693068</c:v>
                </c:pt>
                <c:pt idx="15">
                  <c:v>0.9372759568551174</c:v>
                </c:pt>
                <c:pt idx="16">
                  <c:v>0.9517192178613774</c:v>
                </c:pt>
                <c:pt idx="17">
                  <c:v>0.9445575985728533</c:v>
                </c:pt>
                <c:pt idx="18">
                  <c:v>0.931594434555164</c:v>
                </c:pt>
                <c:pt idx="19">
                  <c:v>0.916500727150688</c:v>
                </c:pt>
                <c:pt idx="20">
                  <c:v>0.9024308312465644</c:v>
                </c:pt>
                <c:pt idx="21">
                  <c:v>0.9396336721285098</c:v>
                </c:pt>
                <c:pt idx="22">
                  <c:v>0.9489967574420363</c:v>
                </c:pt>
                <c:pt idx="23">
                  <c:v>0.9356364544631428</c:v>
                </c:pt>
                <c:pt idx="24">
                  <c:v>0.9276786416162252</c:v>
                </c:pt>
                <c:pt idx="25">
                  <c:v>0.9254725333949263</c:v>
                </c:pt>
                <c:pt idx="26">
                  <c:v>0.9314639241523381</c:v>
                </c:pt>
                <c:pt idx="27">
                  <c:v>0.9284971797624525</c:v>
                </c:pt>
                <c:pt idx="28">
                  <c:v>0.9405412177399148</c:v>
                </c:pt>
                <c:pt idx="29">
                  <c:v>0.9464607726106723</c:v>
                </c:pt>
                <c:pt idx="30">
                  <c:v>0.9341920747133915</c:v>
                </c:pt>
                <c:pt idx="31">
                  <c:v>0.9144554149953718</c:v>
                </c:pt>
                <c:pt idx="32">
                  <c:v>0.911655988171513</c:v>
                </c:pt>
                <c:pt idx="33">
                  <c:v>0.9441517506628282</c:v>
                </c:pt>
                <c:pt idx="34">
                  <c:v>0.9294982636113976</c:v>
                </c:pt>
                <c:pt idx="35">
                  <c:v>0.9347924790342397</c:v>
                </c:pt>
                <c:pt idx="36">
                  <c:v>0.9423397585539919</c:v>
                </c:pt>
                <c:pt idx="37">
                  <c:v>0.9026514299732199</c:v>
                </c:pt>
                <c:pt idx="38">
                  <c:v>0.9196474489705438</c:v>
                </c:pt>
                <c:pt idx="39">
                  <c:v>0.9168016194331984</c:v>
                </c:pt>
                <c:pt idx="40">
                  <c:v>0.9244649759592721</c:v>
                </c:pt>
                <c:pt idx="41">
                  <c:v>0.935184109652689</c:v>
                </c:pt>
                <c:pt idx="42">
                  <c:v>0.912592403772623</c:v>
                </c:pt>
                <c:pt idx="43">
                  <c:v>0.920648926453969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numCache>
            </c:numRef>
          </c:xVal>
          <c:yVal>
            <c:numRef>
              <c:f>Sheet1!$B$48:$B$99</c:f>
              <c:numCache>
                <c:formatCode>General</c:formatCode>
                <c:ptCount val="52"/>
                <c:pt idx="0">
                  <c:v>0.9330344634351359</c:v>
                </c:pt>
                <c:pt idx="1">
                  <c:v>0.926725476229613</c:v>
                </c:pt>
                <c:pt idx="2">
                  <c:v>0.9230279791705038</c:v>
                </c:pt>
                <c:pt idx="3">
                  <c:v>0.9187745292968412</c:v>
                </c:pt>
                <c:pt idx="4">
                  <c:v>0.9422374129091626</c:v>
                </c:pt>
                <c:pt idx="5">
                  <c:v>0.9367315185812439</c:v>
                </c:pt>
                <c:pt idx="6">
                  <c:v>0.9313522342214963</c:v>
                </c:pt>
                <c:pt idx="7">
                  <c:v>0.9423012242701466</c:v>
                </c:pt>
                <c:pt idx="8">
                  <c:v>0.9511480214948705</c:v>
                </c:pt>
                <c:pt idx="9">
                  <c:v>0.9424725319825049</c:v>
                </c:pt>
                <c:pt idx="10">
                  <c:v>0.944814744532473</c:v>
                </c:pt>
                <c:pt idx="11">
                  <c:v>0.9347346194452443</c:v>
                </c:pt>
                <c:pt idx="12">
                  <c:v>0.9233167718153075</c:v>
                </c:pt>
                <c:pt idx="13">
                  <c:v>0.9433755312828481</c:v>
                </c:pt>
                <c:pt idx="14">
                  <c:v>0.9541690668202765</c:v>
                </c:pt>
                <c:pt idx="15">
                  <c:v>0.948404568229304</c:v>
                </c:pt>
                <c:pt idx="16">
                  <c:v>0.9452005249506567</c:v>
                </c:pt>
                <c:pt idx="17">
                  <c:v>0.9392130005186378</c:v>
                </c:pt>
                <c:pt idx="18">
                  <c:v>0.9373758807366903</c:v>
                </c:pt>
                <c:pt idx="19">
                  <c:v>0.9432566796463645</c:v>
                </c:pt>
                <c:pt idx="20">
                  <c:v>0.9508288988948015</c:v>
                </c:pt>
                <c:pt idx="21">
                  <c:v>0.954762992532898</c:v>
                </c:pt>
                <c:pt idx="22">
                  <c:v>0.9409789945269926</c:v>
                </c:pt>
                <c:pt idx="23">
                  <c:v>0.9522867243257666</c:v>
                </c:pt>
                <c:pt idx="24">
                  <c:v>0.947952780567886</c:v>
                </c:pt>
                <c:pt idx="25">
                  <c:v>0.9441283807428885</c:v>
                </c:pt>
                <c:pt idx="26">
                  <c:v>0.9505942941938111</c:v>
                </c:pt>
                <c:pt idx="27">
                  <c:v>0.9550801943663001</c:v>
                </c:pt>
                <c:pt idx="28">
                  <c:v>0.9536255269826479</c:v>
                </c:pt>
                <c:pt idx="29">
                  <c:v>0.9453087863098526</c:v>
                </c:pt>
                <c:pt idx="30">
                  <c:v>0.9419117203067447</c:v>
                </c:pt>
                <c:pt idx="31">
                  <c:v>0.9480310710597953</c:v>
                </c:pt>
                <c:pt idx="32">
                  <c:v>0.921006867029341</c:v>
                </c:pt>
                <c:pt idx="33">
                  <c:v>0.9477825800995959</c:v>
                </c:pt>
                <c:pt idx="34">
                  <c:v>0.95110890284114</c:v>
                </c:pt>
                <c:pt idx="35">
                  <c:v>0.9561966672934519</c:v>
                </c:pt>
                <c:pt idx="36">
                  <c:v>0.9508590542800669</c:v>
                </c:pt>
                <c:pt idx="37">
                  <c:v>0.951601934059382</c:v>
                </c:pt>
                <c:pt idx="38">
                  <c:v>0.9492346914952232</c:v>
                </c:pt>
                <c:pt idx="39">
                  <c:v>0.9461316593145572</c:v>
                </c:pt>
                <c:pt idx="40">
                  <c:v>0.9499377625641824</c:v>
                </c:pt>
                <c:pt idx="41">
                  <c:v>0.9536072751099507</c:v>
                </c:pt>
                <c:pt idx="42">
                  <c:v>0.9433886798979547</c:v>
                </c:pt>
                <c:pt idx="43">
                  <c:v>0.9476717875431702</c:v>
                </c:pt>
                <c:pt idx="44">
                  <c:v>0.9507087747794307</c:v>
                </c:pt>
                <c:pt idx="45">
                  <c:v>0.9410016257006284</c:v>
                </c:pt>
                <c:pt idx="46">
                  <c:v>0.9373557575834853</c:v>
                </c:pt>
                <c:pt idx="47">
                  <c:v>0.9515864438932989</c:v>
                </c:pt>
                <c:pt idx="48">
                  <c:v>0.9485339251145002</c:v>
                </c:pt>
                <c:pt idx="49">
                  <c:v>0.9547419885049048</c:v>
                </c:pt>
                <c:pt idx="50">
                  <c:v>0.931488649783493</c:v>
                </c:pt>
                <c:pt idx="51">
                  <c:v>0.943720286296431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770853903633438</c:v>
                </c:pt>
              </c:numCache>
            </c:numRef>
          </c:xVal>
          <c:yVal>
            <c:numRef>
              <c:f>Sheet1!$B$102:$B$103</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770853903633438</c:v>
                </c:pt>
                <c:pt idx="1">
                  <c:v>2.770853903633438</c:v>
                </c:pt>
              </c:numCache>
            </c:numRef>
          </c:xVal>
          <c:yVal>
            <c:numRef>
              <c:f>Sheet1!$B$106:$B$107</c:f>
              <c:numCache>
                <c:formatCode>General</c:formatCode>
                <c:ptCount val="2"/>
                <c:pt idx="0">
                  <c:v>0.94787248387056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770853903633438</c:v>
                </c:pt>
              </c:numCache>
            </c:numRef>
          </c:xVal>
          <c:yVal>
            <c:numRef>
              <c:f>Sheet1!$B$110:$B$111</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770853903633438</c:v>
                </c:pt>
                <c:pt idx="1">
                  <c:v>2.770853903633438</c:v>
                </c:pt>
              </c:numCache>
            </c:numRef>
          </c:xVal>
          <c:yVal>
            <c:numRef>
              <c:f>Sheet1!$B$114:$B$115</c:f>
              <c:numCache>
                <c:formatCode>General</c:formatCode>
                <c:ptCount val="2"/>
                <c:pt idx="0">
                  <c:v>0.94787248387056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849565856825672</c:v>
                </c:pt>
              </c:numCache>
            </c:numRef>
          </c:xVal>
          <c:yVal>
            <c:numRef>
              <c:f>Sheet1!$B$118:$B$119</c:f>
              <c:numCache>
                <c:formatCode>General</c:formatCode>
                <c:ptCount val="2"/>
                <c:pt idx="0">
                  <c:v>0.9461442012373836</c:v>
                </c:pt>
                <c:pt idx="1">
                  <c:v>0.946144201237383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849565856825672</c:v>
                </c:pt>
                <c:pt idx="1">
                  <c:v>2.849565856825672</c:v>
                </c:pt>
              </c:numCache>
            </c:numRef>
          </c:xVal>
          <c:yVal>
            <c:numRef>
              <c:f>Sheet1!$B$122:$B$123</c:f>
              <c:numCache>
                <c:formatCode>General</c:formatCode>
                <c:ptCount val="2"/>
                <c:pt idx="0">
                  <c:v>0.9461442012373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pt idx="52">
                  <c:v>2.770853903633438</c:v>
                </c:pt>
                <c:pt idx="53">
                  <c:v>2.770853903633438</c:v>
                </c:pt>
                <c:pt idx="54">
                  <c:v>2.849565856825672</c:v>
                </c:pt>
              </c:numCache>
            </c:numRef>
          </c:xVal>
          <c:yVal>
            <c:numRef>
              <c:f>Sheet1!$B$126:$B$180</c:f>
              <c:numCache>
                <c:formatCode>General</c:formatCode>
                <c:ptCount val="55"/>
                <c:pt idx="0">
                  <c:v>0.9420813965015781</c:v>
                </c:pt>
                <c:pt idx="1">
                  <c:v>0.939793471439704</c:v>
                </c:pt>
                <c:pt idx="2">
                  <c:v>0.9396485548810825</c:v>
                </c:pt>
                <c:pt idx="3">
                  <c:v>0.9398988653005198</c:v>
                </c:pt>
                <c:pt idx="4">
                  <c:v>0.9396244021213123</c:v>
                </c:pt>
                <c:pt idx="5">
                  <c:v>0.939710034633225</c:v>
                </c:pt>
                <c:pt idx="6">
                  <c:v>0.939580488012639</c:v>
                </c:pt>
                <c:pt idx="7">
                  <c:v>0.9377317040374971</c:v>
                </c:pt>
                <c:pt idx="8">
                  <c:v>0.9421099406722157</c:v>
                </c:pt>
                <c:pt idx="9">
                  <c:v>0.9480339539322312</c:v>
                </c:pt>
                <c:pt idx="10">
                  <c:v>0.9483018299951378</c:v>
                </c:pt>
                <c:pt idx="11">
                  <c:v>0.9409747609630134</c:v>
                </c:pt>
                <c:pt idx="12">
                  <c:v>0.9369873598954862</c:v>
                </c:pt>
                <c:pt idx="13">
                  <c:v>0.9384453083034366</c:v>
                </c:pt>
                <c:pt idx="14">
                  <c:v>0.9452190595662787</c:v>
                </c:pt>
                <c:pt idx="15">
                  <c:v>0.950058394342066</c:v>
                </c:pt>
                <c:pt idx="16">
                  <c:v>0.9498476066204347</c:v>
                </c:pt>
                <c:pt idx="17">
                  <c:v>0.9471403018207315</c:v>
                </c:pt>
                <c:pt idx="18">
                  <c:v>0.9388097954054242</c:v>
                </c:pt>
                <c:pt idx="19">
                  <c:v>0.9387702727076184</c:v>
                </c:pt>
                <c:pt idx="20">
                  <c:v>0.9447228301382715</c:v>
                </c:pt>
                <c:pt idx="21">
                  <c:v>0.9498366280932663</c:v>
                </c:pt>
                <c:pt idx="22">
                  <c:v>0.9496324274879359</c:v>
                </c:pt>
                <c:pt idx="23">
                  <c:v>0.9454474129313793</c:v>
                </c:pt>
                <c:pt idx="24">
                  <c:v>0.9389722776075151</c:v>
                </c:pt>
                <c:pt idx="25">
                  <c:v>0.9383882199621615</c:v>
                </c:pt>
                <c:pt idx="26">
                  <c:v>0.9444878896568698</c:v>
                </c:pt>
                <c:pt idx="27">
                  <c:v>0.9496917115346447</c:v>
                </c:pt>
                <c:pt idx="28">
                  <c:v>0.9498080839226287</c:v>
                </c:pt>
                <c:pt idx="29">
                  <c:v>0.9459897521734935</c:v>
                </c:pt>
                <c:pt idx="30">
                  <c:v>0.9386143776218285</c:v>
                </c:pt>
                <c:pt idx="31">
                  <c:v>0.938875666568434</c:v>
                </c:pt>
                <c:pt idx="32">
                  <c:v>0.9389064064445053</c:v>
                </c:pt>
                <c:pt idx="33">
                  <c:v>0.9385616806914207</c:v>
                </c:pt>
                <c:pt idx="34">
                  <c:v>0.9448216368827862</c:v>
                </c:pt>
                <c:pt idx="35">
                  <c:v>0.9497334299378842</c:v>
                </c:pt>
                <c:pt idx="36">
                  <c:v>0.949722451410716</c:v>
                </c:pt>
                <c:pt idx="37">
                  <c:v>0.9498168667443634</c:v>
                </c:pt>
                <c:pt idx="38">
                  <c:v>0.9457745730409948</c:v>
                </c:pt>
                <c:pt idx="39">
                  <c:v>0.9388427309869292</c:v>
                </c:pt>
                <c:pt idx="40">
                  <c:v>0.9389393420260101</c:v>
                </c:pt>
                <c:pt idx="41">
                  <c:v>0.9452036896282431</c:v>
                </c:pt>
                <c:pt idx="42">
                  <c:v>0.9497817354574248</c:v>
                </c:pt>
                <c:pt idx="43">
                  <c:v>0.9495972962009973</c:v>
                </c:pt>
                <c:pt idx="44">
                  <c:v>0.9457065061725513</c:v>
                </c:pt>
                <c:pt idx="45">
                  <c:v>0.9386780530794047</c:v>
                </c:pt>
                <c:pt idx="46">
                  <c:v>0.9387373371261134</c:v>
                </c:pt>
                <c:pt idx="47">
                  <c:v>0.945230038093447</c:v>
                </c:pt>
                <c:pt idx="48">
                  <c:v>0.9498541937367356</c:v>
                </c:pt>
                <c:pt idx="49">
                  <c:v>0.9499244563106127</c:v>
                </c:pt>
                <c:pt idx="50">
                  <c:v>0.9497619741085218</c:v>
                </c:pt>
                <c:pt idx="51">
                  <c:v>0.9399932806341671</c:v>
                </c:pt>
                <c:pt idx="52">
                  <c:v>0.9478724838705657</c:v>
                </c:pt>
                <c:pt idx="53">
                  <c:v>0.9478724838705657</c:v>
                </c:pt>
                <c:pt idx="54">
                  <c:v>0.9461442012373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74360007521422"/>
          <c:min val="0.72194466499725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7185226793989608</c:v>
                </c:pt>
                <c:pt idx="1">
                  <c:v>0.7133908255849883</c:v>
                </c:pt>
                <c:pt idx="2">
                  <c:v>0.7799280939273074</c:v>
                </c:pt>
                <c:pt idx="3">
                  <c:v>0.8423536020221879</c:v>
                </c:pt>
                <c:pt idx="4">
                  <c:v>0.8500589987076473</c:v>
                </c:pt>
                <c:pt idx="5">
                  <c:v>0.8451341103777559</c:v>
                </c:pt>
                <c:pt idx="6">
                  <c:v>0.7944116821117664</c:v>
                </c:pt>
                <c:pt idx="7">
                  <c:v>0.6385829868524553</c:v>
                </c:pt>
                <c:pt idx="8">
                  <c:v>0.6305752162678351</c:v>
                </c:pt>
                <c:pt idx="9">
                  <c:v>0.6377121024834251</c:v>
                </c:pt>
                <c:pt idx="10">
                  <c:v>0.6245013764818248</c:v>
                </c:pt>
                <c:pt idx="11">
                  <c:v>0.7609257386810471</c:v>
                </c:pt>
                <c:pt idx="12">
                  <c:v>0.8454193113520194</c:v>
                </c:pt>
                <c:pt idx="13">
                  <c:v>0.8410540214062984</c:v>
                </c:pt>
                <c:pt idx="14">
                  <c:v>0.8460868588122927</c:v>
                </c:pt>
                <c:pt idx="15">
                  <c:v>0.8448057966130256</c:v>
                </c:pt>
                <c:pt idx="16">
                  <c:v>0.7511940214642917</c:v>
                </c:pt>
                <c:pt idx="17">
                  <c:v>0.7164527093457682</c:v>
                </c:pt>
                <c:pt idx="18">
                  <c:v>0.7176612721959991</c:v>
                </c:pt>
                <c:pt idx="19">
                  <c:v>0.7974434611602753</c:v>
                </c:pt>
                <c:pt idx="20">
                  <c:v>0.8929303710361487</c:v>
                </c:pt>
                <c:pt idx="21">
                  <c:v>0.8657227934153604</c:v>
                </c:pt>
                <c:pt idx="22">
                  <c:v>0.7936071007246784</c:v>
                </c:pt>
                <c:pt idx="23">
                  <c:v>0.7312305142825044</c:v>
                </c:pt>
                <c:pt idx="24">
                  <c:v>0.7347695418925372</c:v>
                </c:pt>
                <c:pt idx="25">
                  <c:v>0.8322330533471922</c:v>
                </c:pt>
                <c:pt idx="26">
                  <c:v>0.858073940892235</c:v>
                </c:pt>
                <c:pt idx="27">
                  <c:v>0.8832336170332294</c:v>
                </c:pt>
                <c:pt idx="28">
                  <c:v>0.7792725740766746</c:v>
                </c:pt>
                <c:pt idx="29">
                  <c:v>0.7388007302345176</c:v>
                </c:pt>
                <c:pt idx="30">
                  <c:v>0.7366986909376931</c:v>
                </c:pt>
                <c:pt idx="31">
                  <c:v>0.8223695298016965</c:v>
                </c:pt>
                <c:pt idx="32">
                  <c:v>0.8743820224719101</c:v>
                </c:pt>
                <c:pt idx="33">
                  <c:v>0.8722436023483807</c:v>
                </c:pt>
                <c:pt idx="34">
                  <c:v>0.7735647680035951</c:v>
                </c:pt>
                <c:pt idx="35">
                  <c:v>0.737143659598371</c:v>
                </c:pt>
                <c:pt idx="36">
                  <c:v>0.7455342096393663</c:v>
                </c:pt>
                <c:pt idx="37">
                  <c:v>0.793479176612654</c:v>
                </c:pt>
                <c:pt idx="38">
                  <c:v>0.8713093800039329</c:v>
                </c:pt>
                <c:pt idx="39">
                  <c:v>0.872878975165749</c:v>
                </c:pt>
                <c:pt idx="40">
                  <c:v>0.8753616674625693</c:v>
                </c:pt>
                <c:pt idx="41">
                  <c:v>0.7461802044714076</c:v>
                </c:pt>
                <c:pt idx="42">
                  <c:v>0.7429791058189171</c:v>
                </c:pt>
                <c:pt idx="43">
                  <c:v>0.7390962451203414</c:v>
                </c:pt>
              </c:numCache>
            </c:numRef>
          </c:xVal>
          <c:yVal>
            <c:numRef>
              <c:f>Sheet1!$B$2:$B$45</c:f>
              <c:numCache>
                <c:formatCode>General</c:formatCode>
                <c:ptCount val="44"/>
                <c:pt idx="0">
                  <c:v>0.923998824141284</c:v>
                </c:pt>
                <c:pt idx="1">
                  <c:v>0.9199002649213028</c:v>
                </c:pt>
                <c:pt idx="2">
                  <c:v>0.9285211448979241</c:v>
                </c:pt>
                <c:pt idx="3">
                  <c:v>0.9181637504384085</c:v>
                </c:pt>
                <c:pt idx="4">
                  <c:v>0.9149200465327207</c:v>
                </c:pt>
                <c:pt idx="5">
                  <c:v>0.9160847508206506</c:v>
                </c:pt>
                <c:pt idx="6">
                  <c:v>0.9216634806694496</c:v>
                </c:pt>
                <c:pt idx="7">
                  <c:v>0.9544324314368334</c:v>
                </c:pt>
                <c:pt idx="8">
                  <c:v>0.9431651906045437</c:v>
                </c:pt>
                <c:pt idx="9">
                  <c:v>0.943327393565787</c:v>
                </c:pt>
                <c:pt idx="10">
                  <c:v>0.9469045571797077</c:v>
                </c:pt>
                <c:pt idx="11">
                  <c:v>0.9403435182519774</c:v>
                </c:pt>
                <c:pt idx="12">
                  <c:v>0.9138730490716442</c:v>
                </c:pt>
                <c:pt idx="13">
                  <c:v>0.9230122954130515</c:v>
                </c:pt>
                <c:pt idx="14">
                  <c:v>0.9360229407693068</c:v>
                </c:pt>
                <c:pt idx="15">
                  <c:v>0.9372759568551174</c:v>
                </c:pt>
                <c:pt idx="16">
                  <c:v>0.9517192178613774</c:v>
                </c:pt>
                <c:pt idx="17">
                  <c:v>0.9445575985728533</c:v>
                </c:pt>
                <c:pt idx="18">
                  <c:v>0.931594434555164</c:v>
                </c:pt>
                <c:pt idx="19">
                  <c:v>0.916500727150688</c:v>
                </c:pt>
                <c:pt idx="20">
                  <c:v>0.9024308312465644</c:v>
                </c:pt>
                <c:pt idx="21">
                  <c:v>0.9396336721285098</c:v>
                </c:pt>
                <c:pt idx="22">
                  <c:v>0.9489967574420363</c:v>
                </c:pt>
                <c:pt idx="23">
                  <c:v>0.9356364544631428</c:v>
                </c:pt>
                <c:pt idx="24">
                  <c:v>0.9276786416162252</c:v>
                </c:pt>
                <c:pt idx="25">
                  <c:v>0.9254725333949263</c:v>
                </c:pt>
                <c:pt idx="26">
                  <c:v>0.9314639241523381</c:v>
                </c:pt>
                <c:pt idx="27">
                  <c:v>0.9284971797624525</c:v>
                </c:pt>
                <c:pt idx="28">
                  <c:v>0.9405412177399148</c:v>
                </c:pt>
                <c:pt idx="29">
                  <c:v>0.9464607726106723</c:v>
                </c:pt>
                <c:pt idx="30">
                  <c:v>0.9341920747133915</c:v>
                </c:pt>
                <c:pt idx="31">
                  <c:v>0.9144554149953718</c:v>
                </c:pt>
                <c:pt idx="32">
                  <c:v>0.911655988171513</c:v>
                </c:pt>
                <c:pt idx="33">
                  <c:v>0.9441517506628282</c:v>
                </c:pt>
                <c:pt idx="34">
                  <c:v>0.9294982636113976</c:v>
                </c:pt>
                <c:pt idx="35">
                  <c:v>0.9347924790342397</c:v>
                </c:pt>
                <c:pt idx="36">
                  <c:v>0.9423397585539919</c:v>
                </c:pt>
                <c:pt idx="37">
                  <c:v>0.9026514299732199</c:v>
                </c:pt>
                <c:pt idx="38">
                  <c:v>0.9196474489705438</c:v>
                </c:pt>
                <c:pt idx="39">
                  <c:v>0.9168016194331984</c:v>
                </c:pt>
                <c:pt idx="40">
                  <c:v>0.9244649759592721</c:v>
                </c:pt>
                <c:pt idx="41">
                  <c:v>0.935184109652689</c:v>
                </c:pt>
                <c:pt idx="42">
                  <c:v>0.912592403772623</c:v>
                </c:pt>
                <c:pt idx="43">
                  <c:v>0.920648926453969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8523199640489834</c:v>
                </c:pt>
                <c:pt idx="1">
                  <c:v>0.881784470165187</c:v>
                </c:pt>
                <c:pt idx="2">
                  <c:v>0.8837130896524598</c:v>
                </c:pt>
                <c:pt idx="3">
                  <c:v>0.8806586674909377</c:v>
                </c:pt>
                <c:pt idx="4">
                  <c:v>0.8836001123279977</c:v>
                </c:pt>
                <c:pt idx="5">
                  <c:v>0.882752808988764</c:v>
                </c:pt>
                <c:pt idx="6">
                  <c:v>0.8843107516009436</c:v>
                </c:pt>
                <c:pt idx="7">
                  <c:v>0.9079342788934137</c:v>
                </c:pt>
                <c:pt idx="8">
                  <c:v>0.8518591327791508</c:v>
                </c:pt>
                <c:pt idx="9">
                  <c:v>0.7761114387620411</c:v>
                </c:pt>
                <c:pt idx="10">
                  <c:v>0.7729239240364086</c:v>
                </c:pt>
                <c:pt idx="11">
                  <c:v>0.8665486924524592</c:v>
                </c:pt>
                <c:pt idx="12">
                  <c:v>0.9175584955478779</c:v>
                </c:pt>
                <c:pt idx="13">
                  <c:v>0.8985539800645795</c:v>
                </c:pt>
                <c:pt idx="14">
                  <c:v>0.8122524648184041</c:v>
                </c:pt>
                <c:pt idx="15">
                  <c:v>0.7502387238105938</c:v>
                </c:pt>
                <c:pt idx="16">
                  <c:v>0.753019493286894</c:v>
                </c:pt>
                <c:pt idx="17">
                  <c:v>0.7879843763171944</c:v>
                </c:pt>
                <c:pt idx="18">
                  <c:v>0.8940687485958212</c:v>
                </c:pt>
                <c:pt idx="19">
                  <c:v>0.8944988907921709</c:v>
                </c:pt>
                <c:pt idx="20">
                  <c:v>0.8188075972128568</c:v>
                </c:pt>
                <c:pt idx="21">
                  <c:v>0.7530753243835309</c:v>
                </c:pt>
                <c:pt idx="22">
                  <c:v>0.7557721476321555</c:v>
                </c:pt>
                <c:pt idx="23">
                  <c:v>0.8094448814473536</c:v>
                </c:pt>
                <c:pt idx="24">
                  <c:v>0.8918653300760958</c:v>
                </c:pt>
                <c:pt idx="25">
                  <c:v>0.8996376506277913</c:v>
                </c:pt>
                <c:pt idx="26">
                  <c:v>0.8214676889375684</c:v>
                </c:pt>
                <c:pt idx="27">
                  <c:v>0.755056179775281</c:v>
                </c:pt>
                <c:pt idx="28">
                  <c:v>0.7535250828605135</c:v>
                </c:pt>
                <c:pt idx="29">
                  <c:v>0.8023481167317361</c:v>
                </c:pt>
                <c:pt idx="30">
                  <c:v>0.8967444734698463</c:v>
                </c:pt>
                <c:pt idx="31">
                  <c:v>0.8935524652338812</c:v>
                </c:pt>
                <c:pt idx="32">
                  <c:v>0.8927578557187384</c:v>
                </c:pt>
                <c:pt idx="33">
                  <c:v>0.897544667940218</c:v>
                </c:pt>
                <c:pt idx="34">
                  <c:v>0.817428434980476</c:v>
                </c:pt>
                <c:pt idx="35">
                  <c:v>0.7542470446185382</c:v>
                </c:pt>
                <c:pt idx="36">
                  <c:v>0.7546205269366889</c:v>
                </c:pt>
                <c:pt idx="37">
                  <c:v>0.7533069340298256</c:v>
                </c:pt>
                <c:pt idx="38">
                  <c:v>0.8050554697373964</c:v>
                </c:pt>
                <c:pt idx="39">
                  <c:v>0.8940492245448416</c:v>
                </c:pt>
                <c:pt idx="40">
                  <c:v>0.8928882519879738</c:v>
                </c:pt>
                <c:pt idx="41">
                  <c:v>0.8123578149136357</c:v>
                </c:pt>
                <c:pt idx="42">
                  <c:v>0.7538621425762597</c:v>
                </c:pt>
                <c:pt idx="43">
                  <c:v>0.75609413614918</c:v>
                </c:pt>
                <c:pt idx="44">
                  <c:v>0.8059940452783552</c:v>
                </c:pt>
                <c:pt idx="45">
                  <c:v>0.8956531506233854</c:v>
                </c:pt>
                <c:pt idx="46">
                  <c:v>0.895423000196679</c:v>
                </c:pt>
                <c:pt idx="47">
                  <c:v>0.8120207835978093</c:v>
                </c:pt>
                <c:pt idx="48">
                  <c:v>0.7529986797381949</c:v>
                </c:pt>
                <c:pt idx="49">
                  <c:v>0.751867452962651</c:v>
                </c:pt>
                <c:pt idx="50">
                  <c:v>0.7541573033707866</c:v>
                </c:pt>
                <c:pt idx="51">
                  <c:v>0.8793515214520525</c:v>
                </c:pt>
              </c:numCache>
            </c:numRef>
          </c:xVal>
          <c:yVal>
            <c:numRef>
              <c:f>Sheet1!$B$48:$B$99</c:f>
              <c:numCache>
                <c:formatCode>General</c:formatCode>
                <c:ptCount val="52"/>
                <c:pt idx="0">
                  <c:v>0.9330344634351359</c:v>
                </c:pt>
                <c:pt idx="1">
                  <c:v>0.926725476229613</c:v>
                </c:pt>
                <c:pt idx="2">
                  <c:v>0.9230279791705038</c:v>
                </c:pt>
                <c:pt idx="3">
                  <c:v>0.9187745292968412</c:v>
                </c:pt>
                <c:pt idx="4">
                  <c:v>0.9422374129091626</c:v>
                </c:pt>
                <c:pt idx="5">
                  <c:v>0.9367315185812439</c:v>
                </c:pt>
                <c:pt idx="6">
                  <c:v>0.9313522342214963</c:v>
                </c:pt>
                <c:pt idx="7">
                  <c:v>0.9423012242701466</c:v>
                </c:pt>
                <c:pt idx="8">
                  <c:v>0.9511480214948705</c:v>
                </c:pt>
                <c:pt idx="9">
                  <c:v>0.9424725319825049</c:v>
                </c:pt>
                <c:pt idx="10">
                  <c:v>0.944814744532473</c:v>
                </c:pt>
                <c:pt idx="11">
                  <c:v>0.9347346194452443</c:v>
                </c:pt>
                <c:pt idx="12">
                  <c:v>0.9233167718153075</c:v>
                </c:pt>
                <c:pt idx="13">
                  <c:v>0.9433755312828481</c:v>
                </c:pt>
                <c:pt idx="14">
                  <c:v>0.9541690668202765</c:v>
                </c:pt>
                <c:pt idx="15">
                  <c:v>0.948404568229304</c:v>
                </c:pt>
                <c:pt idx="16">
                  <c:v>0.9452005249506567</c:v>
                </c:pt>
                <c:pt idx="17">
                  <c:v>0.9392130005186378</c:v>
                </c:pt>
                <c:pt idx="18">
                  <c:v>0.9373758807366903</c:v>
                </c:pt>
                <c:pt idx="19">
                  <c:v>0.9432566796463645</c:v>
                </c:pt>
                <c:pt idx="20">
                  <c:v>0.9508288988948015</c:v>
                </c:pt>
                <c:pt idx="21">
                  <c:v>0.954762992532898</c:v>
                </c:pt>
                <c:pt idx="22">
                  <c:v>0.9409789945269926</c:v>
                </c:pt>
                <c:pt idx="23">
                  <c:v>0.9522867243257666</c:v>
                </c:pt>
                <c:pt idx="24">
                  <c:v>0.947952780567886</c:v>
                </c:pt>
                <c:pt idx="25">
                  <c:v>0.9441283807428885</c:v>
                </c:pt>
                <c:pt idx="26">
                  <c:v>0.9505942941938111</c:v>
                </c:pt>
                <c:pt idx="27">
                  <c:v>0.9550801943663001</c:v>
                </c:pt>
                <c:pt idx="28">
                  <c:v>0.9536255269826479</c:v>
                </c:pt>
                <c:pt idx="29">
                  <c:v>0.9453087863098526</c:v>
                </c:pt>
                <c:pt idx="30">
                  <c:v>0.9419117203067447</c:v>
                </c:pt>
                <c:pt idx="31">
                  <c:v>0.9480310710597953</c:v>
                </c:pt>
                <c:pt idx="32">
                  <c:v>0.921006867029341</c:v>
                </c:pt>
                <c:pt idx="33">
                  <c:v>0.9477825800995959</c:v>
                </c:pt>
                <c:pt idx="34">
                  <c:v>0.95110890284114</c:v>
                </c:pt>
                <c:pt idx="35">
                  <c:v>0.9561966672934519</c:v>
                </c:pt>
                <c:pt idx="36">
                  <c:v>0.9508590542800669</c:v>
                </c:pt>
                <c:pt idx="37">
                  <c:v>0.951601934059382</c:v>
                </c:pt>
                <c:pt idx="38">
                  <c:v>0.9492346914952232</c:v>
                </c:pt>
                <c:pt idx="39">
                  <c:v>0.9461316593145572</c:v>
                </c:pt>
                <c:pt idx="40">
                  <c:v>0.9499377625641824</c:v>
                </c:pt>
                <c:pt idx="41">
                  <c:v>0.9536072751099507</c:v>
                </c:pt>
                <c:pt idx="42">
                  <c:v>0.9433886798979547</c:v>
                </c:pt>
                <c:pt idx="43">
                  <c:v>0.9476717875431702</c:v>
                </c:pt>
                <c:pt idx="44">
                  <c:v>0.9507087747794307</c:v>
                </c:pt>
                <c:pt idx="45">
                  <c:v>0.9410016257006284</c:v>
                </c:pt>
                <c:pt idx="46">
                  <c:v>0.9373557575834853</c:v>
                </c:pt>
                <c:pt idx="47">
                  <c:v>0.9515864438932989</c:v>
                </c:pt>
                <c:pt idx="48">
                  <c:v>0.9485339251145002</c:v>
                </c:pt>
                <c:pt idx="49">
                  <c:v>0.9547419885049048</c:v>
                </c:pt>
                <c:pt idx="50">
                  <c:v>0.931488649783493</c:v>
                </c:pt>
                <c:pt idx="51">
                  <c:v>0.943720286296431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778319345336169</c:v>
                </c:pt>
              </c:numCache>
            </c:numRef>
          </c:xVal>
          <c:yVal>
            <c:numRef>
              <c:f>Sheet1!$B$102:$B$103</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778319345336169</c:v>
                </c:pt>
                <c:pt idx="1">
                  <c:v>0.778319345336169</c:v>
                </c:pt>
              </c:numCache>
            </c:numRef>
          </c:xVal>
          <c:yVal>
            <c:numRef>
              <c:f>Sheet1!$B$106:$B$107</c:f>
              <c:numCache>
                <c:formatCode>General</c:formatCode>
                <c:ptCount val="2"/>
                <c:pt idx="0">
                  <c:v>0.947872483870565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778319345336169</c:v>
                </c:pt>
              </c:numCache>
            </c:numRef>
          </c:xVal>
          <c:yVal>
            <c:numRef>
              <c:f>Sheet1!$B$110:$B$111</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778319345336169</c:v>
                </c:pt>
                <c:pt idx="1">
                  <c:v>0.778319345336169</c:v>
                </c:pt>
              </c:numCache>
            </c:numRef>
          </c:xVal>
          <c:yVal>
            <c:numRef>
              <c:f>Sheet1!$B$114:$B$115</c:f>
              <c:numCache>
                <c:formatCode>General</c:formatCode>
                <c:ptCount val="2"/>
                <c:pt idx="0">
                  <c:v>0.947872483870565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00416101929342</c:v>
                </c:pt>
              </c:numCache>
            </c:numRef>
          </c:xVal>
          <c:yVal>
            <c:numRef>
              <c:f>Sheet1!$B$118:$B$119</c:f>
              <c:numCache>
                <c:formatCode>General</c:formatCode>
                <c:ptCount val="2"/>
                <c:pt idx="0">
                  <c:v>0.9461442012373836</c:v>
                </c:pt>
                <c:pt idx="1">
                  <c:v>0.9461442012373836</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00416101929342</c:v>
                </c:pt>
                <c:pt idx="1">
                  <c:v>0.800416101929342</c:v>
                </c:pt>
              </c:numCache>
            </c:numRef>
          </c:xVal>
          <c:yVal>
            <c:numRef>
              <c:f>Sheet1!$B$122:$B$123</c:f>
              <c:numCache>
                <c:formatCode>General</c:formatCode>
                <c:ptCount val="2"/>
                <c:pt idx="0">
                  <c:v>0.9461442012373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8523199640489834</c:v>
                </c:pt>
                <c:pt idx="1">
                  <c:v>0.881784470165187</c:v>
                </c:pt>
                <c:pt idx="2">
                  <c:v>0.8837130896524598</c:v>
                </c:pt>
                <c:pt idx="3">
                  <c:v>0.8806586674909377</c:v>
                </c:pt>
                <c:pt idx="4">
                  <c:v>0.8836001123279977</c:v>
                </c:pt>
                <c:pt idx="5">
                  <c:v>0.882752808988764</c:v>
                </c:pt>
                <c:pt idx="6">
                  <c:v>0.8843107516009436</c:v>
                </c:pt>
                <c:pt idx="7">
                  <c:v>0.9079342788934137</c:v>
                </c:pt>
                <c:pt idx="8">
                  <c:v>0.8518591327791508</c:v>
                </c:pt>
                <c:pt idx="9">
                  <c:v>0.7761114387620411</c:v>
                </c:pt>
                <c:pt idx="10">
                  <c:v>0.7729239240364086</c:v>
                </c:pt>
                <c:pt idx="11">
                  <c:v>0.8665486924524592</c:v>
                </c:pt>
                <c:pt idx="12">
                  <c:v>0.9175584955478779</c:v>
                </c:pt>
                <c:pt idx="13">
                  <c:v>0.8985539800645795</c:v>
                </c:pt>
                <c:pt idx="14">
                  <c:v>0.8122524648184041</c:v>
                </c:pt>
                <c:pt idx="15">
                  <c:v>0.7502387238105938</c:v>
                </c:pt>
                <c:pt idx="16">
                  <c:v>0.753019493286894</c:v>
                </c:pt>
                <c:pt idx="17">
                  <c:v>0.7879843763171944</c:v>
                </c:pt>
                <c:pt idx="18">
                  <c:v>0.8940687485958212</c:v>
                </c:pt>
                <c:pt idx="19">
                  <c:v>0.8944988907921709</c:v>
                </c:pt>
                <c:pt idx="20">
                  <c:v>0.8188075972128568</c:v>
                </c:pt>
                <c:pt idx="21">
                  <c:v>0.7530753243835309</c:v>
                </c:pt>
                <c:pt idx="22">
                  <c:v>0.7557721476321555</c:v>
                </c:pt>
                <c:pt idx="23">
                  <c:v>0.8094448814473536</c:v>
                </c:pt>
                <c:pt idx="24">
                  <c:v>0.8918653300760958</c:v>
                </c:pt>
                <c:pt idx="25">
                  <c:v>0.8996376506277913</c:v>
                </c:pt>
                <c:pt idx="26">
                  <c:v>0.8214676889375684</c:v>
                </c:pt>
                <c:pt idx="27">
                  <c:v>0.755056179775281</c:v>
                </c:pt>
                <c:pt idx="28">
                  <c:v>0.7535250828605135</c:v>
                </c:pt>
                <c:pt idx="29">
                  <c:v>0.8023481167317361</c:v>
                </c:pt>
                <c:pt idx="30">
                  <c:v>0.8967444734698463</c:v>
                </c:pt>
                <c:pt idx="31">
                  <c:v>0.8935524652338812</c:v>
                </c:pt>
                <c:pt idx="32">
                  <c:v>0.8927578557187384</c:v>
                </c:pt>
                <c:pt idx="33">
                  <c:v>0.897544667940218</c:v>
                </c:pt>
                <c:pt idx="34">
                  <c:v>0.817428434980476</c:v>
                </c:pt>
                <c:pt idx="35">
                  <c:v>0.7542470446185382</c:v>
                </c:pt>
                <c:pt idx="36">
                  <c:v>0.7546205269366889</c:v>
                </c:pt>
                <c:pt idx="37">
                  <c:v>0.7533069340298256</c:v>
                </c:pt>
                <c:pt idx="38">
                  <c:v>0.8050554697373964</c:v>
                </c:pt>
                <c:pt idx="39">
                  <c:v>0.8940492245448416</c:v>
                </c:pt>
                <c:pt idx="40">
                  <c:v>0.8928882519879738</c:v>
                </c:pt>
                <c:pt idx="41">
                  <c:v>0.8123578149136357</c:v>
                </c:pt>
                <c:pt idx="42">
                  <c:v>0.7538621425762597</c:v>
                </c:pt>
                <c:pt idx="43">
                  <c:v>0.75609413614918</c:v>
                </c:pt>
                <c:pt idx="44">
                  <c:v>0.8059940452783552</c:v>
                </c:pt>
                <c:pt idx="45">
                  <c:v>0.8956531506233854</c:v>
                </c:pt>
                <c:pt idx="46">
                  <c:v>0.895423000196679</c:v>
                </c:pt>
                <c:pt idx="47">
                  <c:v>0.8120207835978093</c:v>
                </c:pt>
                <c:pt idx="48">
                  <c:v>0.7529986797381949</c:v>
                </c:pt>
                <c:pt idx="49">
                  <c:v>0.751867452962651</c:v>
                </c:pt>
                <c:pt idx="50">
                  <c:v>0.7541573033707866</c:v>
                </c:pt>
                <c:pt idx="51">
                  <c:v>0.8793515214520525</c:v>
                </c:pt>
                <c:pt idx="52">
                  <c:v>0.778319345336169</c:v>
                </c:pt>
                <c:pt idx="53">
                  <c:v>0.778319345336169</c:v>
                </c:pt>
                <c:pt idx="54">
                  <c:v>0.800416101929342</c:v>
                </c:pt>
              </c:numCache>
            </c:numRef>
          </c:xVal>
          <c:yVal>
            <c:numRef>
              <c:f>Sheet1!$B$126:$B$180</c:f>
              <c:numCache>
                <c:formatCode>General</c:formatCode>
                <c:ptCount val="55"/>
                <c:pt idx="0">
                  <c:v>0.9420845763273565</c:v>
                </c:pt>
                <c:pt idx="1">
                  <c:v>0.9397800302279686</c:v>
                </c:pt>
                <c:pt idx="2">
                  <c:v>0.9396291845800195</c:v>
                </c:pt>
                <c:pt idx="3">
                  <c:v>0.9398680841105413</c:v>
                </c:pt>
                <c:pt idx="4">
                  <c:v>0.9396380210238201</c:v>
                </c:pt>
                <c:pt idx="5">
                  <c:v>0.9397042922722751</c:v>
                </c:pt>
                <c:pt idx="6">
                  <c:v>0.9395824388614014</c:v>
                </c:pt>
                <c:pt idx="7">
                  <c:v>0.937734740907092</c:v>
                </c:pt>
                <c:pt idx="8">
                  <c:v>0.942120619928467</c:v>
                </c:pt>
                <c:pt idx="9">
                  <c:v>0.9480451737661014</c:v>
                </c:pt>
                <c:pt idx="10">
                  <c:v>0.9482944830400708</c:v>
                </c:pt>
                <c:pt idx="11">
                  <c:v>0.9409716861125279</c:v>
                </c:pt>
                <c:pt idx="12">
                  <c:v>0.9369819894147291</c:v>
                </c:pt>
                <c:pt idx="13">
                  <c:v>0.938468414534331</c:v>
                </c:pt>
                <c:pt idx="14">
                  <c:v>0.9452184282473546</c:v>
                </c:pt>
                <c:pt idx="15">
                  <c:v>0.9500687903876318</c:v>
                </c:pt>
                <c:pt idx="16">
                  <c:v>0.9498512944138445</c:v>
                </c:pt>
                <c:pt idx="17">
                  <c:v>0.9471165401136963</c:v>
                </c:pt>
                <c:pt idx="18">
                  <c:v>0.93881922383164</c:v>
                </c:pt>
                <c:pt idx="19">
                  <c:v>0.938785580555324</c:v>
                </c:pt>
                <c:pt idx="20">
                  <c:v>0.9447057230714718</c:v>
                </c:pt>
                <c:pt idx="21">
                  <c:v>0.9498469276229853</c:v>
                </c:pt>
                <c:pt idx="22">
                  <c:v>0.9496359974457121</c:v>
                </c:pt>
                <c:pt idx="23">
                  <c:v>0.9454380214514946</c:v>
                </c:pt>
                <c:pt idx="24">
                  <c:v>0.9389915626970846</c:v>
                </c:pt>
                <c:pt idx="25">
                  <c:v>0.938383655985872</c:v>
                </c:pt>
                <c:pt idx="26">
                  <c:v>0.9444976658251015</c:v>
                </c:pt>
                <c:pt idx="27">
                  <c:v>0.9496919963796614</c:v>
                </c:pt>
                <c:pt idx="28">
                  <c:v>0.949811750072759</c:v>
                </c:pt>
                <c:pt idx="29">
                  <c:v>0.9459930900271954</c:v>
                </c:pt>
                <c:pt idx="30">
                  <c:v>0.9386099438492383</c:v>
                </c:pt>
                <c:pt idx="31">
                  <c:v>0.9388596045800308</c:v>
                </c:pt>
                <c:pt idx="32">
                  <c:v>0.9389217544172429</c:v>
                </c:pt>
                <c:pt idx="33">
                  <c:v>0.9385473571885907</c:v>
                </c:pt>
                <c:pt idx="34">
                  <c:v>0.9448135932977881</c:v>
                </c:pt>
                <c:pt idx="35">
                  <c:v>0.94975528232995</c:v>
                </c:pt>
                <c:pt idx="36">
                  <c:v>0.9497260706670737</c:v>
                </c:pt>
                <c:pt idx="37">
                  <c:v>0.9498288124336506</c:v>
                </c:pt>
                <c:pt idx="38">
                  <c:v>0.9457813362722113</c:v>
                </c:pt>
                <c:pt idx="39">
                  <c:v>0.9388207508918714</c:v>
                </c:pt>
                <c:pt idx="40">
                  <c:v>0.9389115555626463</c:v>
                </c:pt>
                <c:pt idx="41">
                  <c:v>0.9452101883620472</c:v>
                </c:pt>
                <c:pt idx="42">
                  <c:v>0.949785387178702</c:v>
                </c:pt>
                <c:pt idx="43">
                  <c:v>0.949610813335107</c:v>
                </c:pt>
                <c:pt idx="44">
                  <c:v>0.9457079262312159</c:v>
                </c:pt>
                <c:pt idx="45">
                  <c:v>0.9386953009157735</c:v>
                </c:pt>
                <c:pt idx="46">
                  <c:v>0.9387133019732508</c:v>
                </c:pt>
                <c:pt idx="47">
                  <c:v>0.945236549034824</c:v>
                </c:pt>
                <c:pt idx="48">
                  <c:v>0.949852922331254</c:v>
                </c:pt>
                <c:pt idx="49">
                  <c:v>0.9499414004561824</c:v>
                </c:pt>
                <c:pt idx="50">
                  <c:v>0.9497623013799773</c:v>
                </c:pt>
                <c:pt idx="51">
                  <c:v>0.9399703216397693</c:v>
                </c:pt>
                <c:pt idx="52">
                  <c:v>0.9478724838705657</c:v>
                </c:pt>
                <c:pt idx="53">
                  <c:v>0.9478724838705657</c:v>
                </c:pt>
                <c:pt idx="54">
                  <c:v>0.946144201237383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74360007521422"/>
          <c:min val="0.721944664997251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8915491134981235</c:v>
                </c:pt>
                <c:pt idx="1">
                  <c:v>0.8915106548183935</c:v>
                </c:pt>
                <c:pt idx="2">
                  <c:v>0.8390561642653783</c:v>
                </c:pt>
                <c:pt idx="3">
                  <c:v>0.802087826762143</c:v>
                </c:pt>
                <c:pt idx="4">
                  <c:v>0.802087826762143</c:v>
                </c:pt>
                <c:pt idx="5">
                  <c:v>0.802087826762143</c:v>
                </c:pt>
                <c:pt idx="6">
                  <c:v>0.8176602536450694</c:v>
                </c:pt>
                <c:pt idx="7">
                  <c:v>0.8915106548183935</c:v>
                </c:pt>
                <c:pt idx="8">
                  <c:v>0.8915106548183935</c:v>
                </c:pt>
                <c:pt idx="9">
                  <c:v>0.8915106548183935</c:v>
                </c:pt>
                <c:pt idx="10">
                  <c:v>0.8915106548183935</c:v>
                </c:pt>
                <c:pt idx="11">
                  <c:v>0.8911224225692347</c:v>
                </c:pt>
                <c:pt idx="12">
                  <c:v>0.8915106548183935</c:v>
                </c:pt>
                <c:pt idx="13">
                  <c:v>0.8239151065481839</c:v>
                </c:pt>
                <c:pt idx="14">
                  <c:v>0.8025191959278751</c:v>
                </c:pt>
                <c:pt idx="15">
                  <c:v>0.8025191959278751</c:v>
                </c:pt>
                <c:pt idx="16">
                  <c:v>0.8025191959278751</c:v>
                </c:pt>
                <c:pt idx="17">
                  <c:v>0.8724441376930376</c:v>
                </c:pt>
                <c:pt idx="18">
                  <c:v>0.8915491134981235</c:v>
                </c:pt>
                <c:pt idx="19">
                  <c:v>0.8340954188594599</c:v>
                </c:pt>
                <c:pt idx="20">
                  <c:v>0.8025191959278751</c:v>
                </c:pt>
                <c:pt idx="21">
                  <c:v>0.8034250711759123</c:v>
                </c:pt>
                <c:pt idx="22">
                  <c:v>0.8606677594685532</c:v>
                </c:pt>
                <c:pt idx="23">
                  <c:v>0.8915106548183935</c:v>
                </c:pt>
                <c:pt idx="24">
                  <c:v>0.8397894918471228</c:v>
                </c:pt>
                <c:pt idx="25">
                  <c:v>0.8025191959278751</c:v>
                </c:pt>
                <c:pt idx="26">
                  <c:v>0.924898628246053</c:v>
                </c:pt>
                <c:pt idx="27">
                  <c:v>0.9359848158053662</c:v>
                </c:pt>
                <c:pt idx="28">
                  <c:v>0.896255715641446</c:v>
                </c:pt>
                <c:pt idx="29">
                  <c:v>0.9216202225864895</c:v>
                </c:pt>
                <c:pt idx="30">
                  <c:v>0.9007808118717916</c:v>
                </c:pt>
                <c:pt idx="31">
                  <c:v>0.8952635665602623</c:v>
                </c:pt>
                <c:pt idx="32">
                  <c:v>0.8556207402294884</c:v>
                </c:pt>
                <c:pt idx="33">
                  <c:v>0.8637736174618239</c:v>
                </c:pt>
                <c:pt idx="34">
                  <c:v>0.9109654041929083</c:v>
                </c:pt>
                <c:pt idx="35">
                  <c:v>0.9513415581054266</c:v>
                </c:pt>
                <c:pt idx="36">
                  <c:v>0.9451274750873562</c:v>
                </c:pt>
                <c:pt idx="37">
                  <c:v>0.9158398757656803</c:v>
                </c:pt>
                <c:pt idx="38">
                  <c:v>0.8827538607540334</c:v>
                </c:pt>
                <c:pt idx="39">
                  <c:v>0.8476404106634458</c:v>
                </c:pt>
                <c:pt idx="40">
                  <c:v>0.8590285566387714</c:v>
                </c:pt>
                <c:pt idx="41">
                  <c:v>0.9736433439737727</c:v>
                </c:pt>
                <c:pt idx="42">
                  <c:v>0.9616944180829954</c:v>
                </c:pt>
                <c:pt idx="43">
                  <c:v>0.952937624018635</c:v>
                </c:pt>
              </c:numCache>
            </c:numRef>
          </c:xVal>
          <c:yVal>
            <c:numRef>
              <c:f>Sheet1!$B$2:$B$45</c:f>
              <c:numCache>
                <c:formatCode>General</c:formatCode>
                <c:ptCount val="4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pt idx="14">
                  <c:v>0.08946308680196463</c:v>
                </c:pt>
                <c:pt idx="15">
                  <c:v>0.08211715576959872</c:v>
                </c:pt>
                <c:pt idx="16">
                  <c:v>0.08722805915124317</c:v>
                </c:pt>
                <c:pt idx="17">
                  <c:v>0.09352473407001963</c:v>
                </c:pt>
                <c:pt idx="18">
                  <c:v>0.08434838038740794</c:v>
                </c:pt>
                <c:pt idx="19">
                  <c:v>0.10126460157857697</c:v>
                </c:pt>
                <c:pt idx="20">
                  <c:v>0.07882558904537294</c:v>
                </c:pt>
                <c:pt idx="21">
                  <c:v>0.09088138788813294</c:v>
                </c:pt>
                <c:pt idx="22">
                  <c:v>0.08492839959843161</c:v>
                </c:pt>
                <c:pt idx="23">
                  <c:v>0.08002557033840745</c:v>
                </c:pt>
                <c:pt idx="24">
                  <c:v>0.08870839802424595</c:v>
                </c:pt>
                <c:pt idx="25">
                  <c:v>0.08814101892275535</c:v>
                </c:pt>
                <c:pt idx="26">
                  <c:v>0.11186490368356827</c:v>
                </c:pt>
                <c:pt idx="27">
                  <c:v>0.1066226193722102</c:v>
                </c:pt>
                <c:pt idx="28">
                  <c:v>0.09392703501447323</c:v>
                </c:pt>
                <c:pt idx="29">
                  <c:v>0.08661220393852827</c:v>
                </c:pt>
                <c:pt idx="30">
                  <c:v>0.09252925564217239</c:v>
                </c:pt>
                <c:pt idx="31">
                  <c:v>0.09248728319016201</c:v>
                </c:pt>
                <c:pt idx="32">
                  <c:v>0.10394504920570757</c:v>
                </c:pt>
                <c:pt idx="33">
                  <c:v>0.10114623982935728</c:v>
                </c:pt>
                <c:pt idx="34">
                  <c:v>0.09829188235760701</c:v>
                </c:pt>
                <c:pt idx="35">
                  <c:v>0.08891287191490223</c:v>
                </c:pt>
                <c:pt idx="36">
                  <c:v>0.08112231423225112</c:v>
                </c:pt>
                <c:pt idx="37">
                  <c:v>0.1138048308388539</c:v>
                </c:pt>
                <c:pt idx="38">
                  <c:v>0.10277795205530238</c:v>
                </c:pt>
                <c:pt idx="39">
                  <c:v>0.11341389334682281</c:v>
                </c:pt>
                <c:pt idx="40">
                  <c:v>0.10130440349634595</c:v>
                </c:pt>
                <c:pt idx="41">
                  <c:v>0.09961503514291283</c:v>
                </c:pt>
                <c:pt idx="42">
                  <c:v>0.08353227163353241</c:v>
                </c:pt>
                <c:pt idx="43">
                  <c:v>0.0859545704927653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9540160469329652</c:v>
                </c:pt>
                <c:pt idx="1">
                  <c:v>0.9578983694245535</c:v>
                </c:pt>
                <c:pt idx="2">
                  <c:v>0.9783021309636787</c:v>
                </c:pt>
                <c:pt idx="3">
                  <c:v>0.9702355275644897</c:v>
                </c:pt>
                <c:pt idx="4">
                  <c:v>0.9721766888102837</c:v>
                </c:pt>
                <c:pt idx="5">
                  <c:v>0.9795099646277284</c:v>
                </c:pt>
                <c:pt idx="6">
                  <c:v>0.9713139504788197</c:v>
                </c:pt>
                <c:pt idx="7">
                  <c:v>0.9996117677508412</c:v>
                </c:pt>
                <c:pt idx="8">
                  <c:v>0.9994823570011216</c:v>
                </c:pt>
                <c:pt idx="9">
                  <c:v>0.9769217496333361</c:v>
                </c:pt>
                <c:pt idx="10">
                  <c:v>0.975324619300289</c:v>
                </c:pt>
                <c:pt idx="11">
                  <c:v>0.9558277974290399</c:v>
                </c:pt>
                <c:pt idx="12">
                  <c:v>0.9091967906134069</c:v>
                </c:pt>
                <c:pt idx="13">
                  <c:v>0.9821413165386939</c:v>
                </c:pt>
                <c:pt idx="14">
                  <c:v>0.9773099818824951</c:v>
                </c:pt>
                <c:pt idx="15">
                  <c:v>0.9781727202139591</c:v>
                </c:pt>
                <c:pt idx="16">
                  <c:v>0.9713570873953928</c:v>
                </c:pt>
                <c:pt idx="17">
                  <c:v>0.9560003450953326</c:v>
                </c:pt>
                <c:pt idx="18">
                  <c:v>0.9209731688378914</c:v>
                </c:pt>
                <c:pt idx="19">
                  <c:v>0.9379259770511604</c:v>
                </c:pt>
                <c:pt idx="20">
                  <c:v>0.9588473815891639</c:v>
                </c:pt>
                <c:pt idx="21">
                  <c:v>0.977525666465361</c:v>
                </c:pt>
                <c:pt idx="22">
                  <c:v>0.975196272970408</c:v>
                </c:pt>
                <c:pt idx="23">
                  <c:v>0.9381821319183814</c:v>
                </c:pt>
                <c:pt idx="24">
                  <c:v>0.9010439133810715</c:v>
                </c:pt>
                <c:pt idx="25">
                  <c:v>0.9146320421016305</c:v>
                </c:pt>
                <c:pt idx="26">
                  <c:v>0.910879130359762</c:v>
                </c:pt>
                <c:pt idx="27">
                  <c:v>0.8983262876369597</c:v>
                </c:pt>
                <c:pt idx="28">
                  <c:v>0.9704080752307825</c:v>
                </c:pt>
                <c:pt idx="29">
                  <c:v>0.9667414373220602</c:v>
                </c:pt>
                <c:pt idx="30">
                  <c:v>0.951859201104305</c:v>
                </c:pt>
                <c:pt idx="31">
                  <c:v>0.9471141402812527</c:v>
                </c:pt>
                <c:pt idx="32">
                  <c:v>0.9545768268484168</c:v>
                </c:pt>
                <c:pt idx="33">
                  <c:v>1.003666796082999</c:v>
                </c:pt>
                <c:pt idx="34">
                  <c:v>0.947847467862997</c:v>
                </c:pt>
                <c:pt idx="35">
                  <c:v>0.9216633595030628</c:v>
                </c:pt>
                <c:pt idx="36">
                  <c:v>0.9045380036235011</c:v>
                </c:pt>
                <c:pt idx="37">
                  <c:v>0.8974635493054955</c:v>
                </c:pt>
                <c:pt idx="38">
                  <c:v>0.9533689931843672</c:v>
                </c:pt>
                <c:pt idx="39">
                  <c:v>0.9500474506082305</c:v>
                </c:pt>
                <c:pt idx="40">
                  <c:v>0.8924596669830042</c:v>
                </c:pt>
                <c:pt idx="41">
                  <c:v>0.8627755489409431</c:v>
                </c:pt>
                <c:pt idx="42">
                  <c:v>0.8336640496937279</c:v>
                </c:pt>
                <c:pt idx="43">
                  <c:v>0.8364248123544129</c:v>
                </c:pt>
                <c:pt idx="44">
                  <c:v>0.8765852816840651</c:v>
                </c:pt>
                <c:pt idx="45">
                  <c:v>0.9045811405400742</c:v>
                </c:pt>
                <c:pt idx="46">
                  <c:v>0.8495815719092399</c:v>
                </c:pt>
                <c:pt idx="47">
                  <c:v>0.7715900267448882</c:v>
                </c:pt>
                <c:pt idx="48">
                  <c:v>0.783840911051678</c:v>
                </c:pt>
                <c:pt idx="49">
                  <c:v>0.7720115611923559</c:v>
                </c:pt>
                <c:pt idx="50">
                  <c:v>0.8859842112074544</c:v>
                </c:pt>
                <c:pt idx="51">
                  <c:v>0.9049262358726597</c:v>
                </c:pt>
              </c:numCache>
            </c:numRef>
          </c:xVal>
          <c:yVal>
            <c:numRef>
              <c:f>Sheet1!$B$48:$B$99</c:f>
              <c:numCache>
                <c:formatCode>General</c:formatCode>
                <c:ptCount val="52"/>
                <c:pt idx="0">
                  <c:v>0.09595287983197304</c:v>
                </c:pt>
                <c:pt idx="1">
                  <c:v>0.09309278109730414</c:v>
                </c:pt>
                <c:pt idx="2">
                  <c:v>0.06617859537390408</c:v>
                </c:pt>
                <c:pt idx="3">
                  <c:v>0.0807005221724716</c:v>
                </c:pt>
                <c:pt idx="4">
                  <c:v>0.11163072602442557</c:v>
                </c:pt>
                <c:pt idx="5">
                  <c:v>0.07724748727348385</c:v>
                </c:pt>
                <c:pt idx="6">
                  <c:v>0.09324251110195274</c:v>
                </c:pt>
                <c:pt idx="7">
                  <c:v>0.08206234525895145</c:v>
                </c:pt>
                <c:pt idx="8">
                  <c:v>0.08726325583284571</c:v>
                </c:pt>
                <c:pt idx="9">
                  <c:v>0.08251353820488037</c:v>
                </c:pt>
                <c:pt idx="10">
                  <c:v>0.08505029924869477</c:v>
                </c:pt>
                <c:pt idx="11">
                  <c:v>0.09796697826301178</c:v>
                </c:pt>
                <c:pt idx="12">
                  <c:v>0.09130194459527566</c:v>
                </c:pt>
                <c:pt idx="13">
                  <c:v>0.08995370427876093</c:v>
                </c:pt>
                <c:pt idx="14">
                  <c:v>0.08747358038607862</c:v>
                </c:pt>
                <c:pt idx="15">
                  <c:v>0.08306071341393326</c:v>
                </c:pt>
                <c:pt idx="16">
                  <c:v>0.08934581444031038</c:v>
                </c:pt>
                <c:pt idx="17">
                  <c:v>0.09026844267775477</c:v>
                </c:pt>
                <c:pt idx="18">
                  <c:v>0.09377091451360803</c:v>
                </c:pt>
                <c:pt idx="19">
                  <c:v>0.08806148660971158</c:v>
                </c:pt>
                <c:pt idx="20">
                  <c:v>0.08806174709658804</c:v>
                </c:pt>
                <c:pt idx="21">
                  <c:v>0.08340052021318195</c:v>
                </c:pt>
                <c:pt idx="22">
                  <c:v>0.07785760715128018</c:v>
                </c:pt>
                <c:pt idx="23">
                  <c:v>0.09151948025993152</c:v>
                </c:pt>
                <c:pt idx="24">
                  <c:v>0.0872886275970746</c:v>
                </c:pt>
                <c:pt idx="25">
                  <c:v>0.08768610653194969</c:v>
                </c:pt>
                <c:pt idx="26">
                  <c:v>0.07655538658128337</c:v>
                </c:pt>
                <c:pt idx="27">
                  <c:v>0.08727628551295281</c:v>
                </c:pt>
                <c:pt idx="28">
                  <c:v>0.09040856683965845</c:v>
                </c:pt>
                <c:pt idx="29">
                  <c:v>0.09274160524944107</c:v>
                </c:pt>
                <c:pt idx="30">
                  <c:v>0.08696801498503767</c:v>
                </c:pt>
                <c:pt idx="31">
                  <c:v>0.08095927699694141</c:v>
                </c:pt>
                <c:pt idx="32">
                  <c:v>0.07849696342817634</c:v>
                </c:pt>
                <c:pt idx="33">
                  <c:v>0.08579762055153861</c:v>
                </c:pt>
                <c:pt idx="34">
                  <c:v>0.09038130321733102</c:v>
                </c:pt>
                <c:pt idx="35">
                  <c:v>0.09141816898675949</c:v>
                </c:pt>
                <c:pt idx="36">
                  <c:v>0.06789309647198916</c:v>
                </c:pt>
                <c:pt idx="37">
                  <c:v>0.09422090936782478</c:v>
                </c:pt>
                <c:pt idx="38">
                  <c:v>0.06490910215520942</c:v>
                </c:pt>
                <c:pt idx="39">
                  <c:v>0.09418245733140403</c:v>
                </c:pt>
                <c:pt idx="40">
                  <c:v>0.08549027168586623</c:v>
                </c:pt>
                <c:pt idx="41">
                  <c:v>0.0819216061319728</c:v>
                </c:pt>
                <c:pt idx="42">
                  <c:v>0.09343967092154053</c:v>
                </c:pt>
                <c:pt idx="43">
                  <c:v>0.09151636405950295</c:v>
                </c:pt>
                <c:pt idx="44">
                  <c:v>0.08448649794584345</c:v>
                </c:pt>
                <c:pt idx="45">
                  <c:v>0.0829750681686038</c:v>
                </c:pt>
                <c:pt idx="46">
                  <c:v>0.09356579862654749</c:v>
                </c:pt>
                <c:pt idx="47">
                  <c:v>0.08484861746278345</c:v>
                </c:pt>
                <c:pt idx="48">
                  <c:v>0.08724532228708723</c:v>
                </c:pt>
                <c:pt idx="49">
                  <c:v>0.08743823415046044</c:v>
                </c:pt>
                <c:pt idx="50">
                  <c:v>0.09318356788959194</c:v>
                </c:pt>
                <c:pt idx="51">
                  <c:v>0.0802112072051759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11662482237207039</c:v>
                </c:pt>
              </c:numCache>
            </c:numRef>
          </c:xVal>
          <c:yVal>
            <c:numRef>
              <c:f>Sheet1!$B$102:$B$103</c:f>
              <c:numCache>
                <c:formatCode>General</c:formatCode>
                <c:ptCount val="2"/>
                <c:pt idx="0">
                  <c:v>0.09740835367204023</c:v>
                </c:pt>
                <c:pt idx="1">
                  <c:v>0.0974083536720402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11662482237207039</c:v>
                </c:pt>
                <c:pt idx="1">
                  <c:v>-0.11662482237207039</c:v>
                </c:pt>
              </c:numCache>
            </c:numRef>
          </c:xVal>
          <c:yVal>
            <c:numRef>
              <c:f>Sheet1!$B$106:$B$107</c:f>
              <c:numCache>
                <c:formatCode>General</c:formatCode>
                <c:ptCount val="2"/>
                <c:pt idx="0">
                  <c:v>0.097408353672040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8045505919246544</c:v>
                </c:pt>
              </c:numCache>
            </c:numRef>
          </c:xVal>
          <c:yVal>
            <c:numRef>
              <c:f>Sheet1!$B$110:$B$111</c:f>
              <c:numCache>
                <c:formatCode>General</c:formatCode>
                <c:ptCount val="2"/>
                <c:pt idx="0">
                  <c:v>0.08801568186762883</c:v>
                </c:pt>
                <c:pt idx="1">
                  <c:v>0.0880156818676288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8045505919246544</c:v>
                </c:pt>
                <c:pt idx="1">
                  <c:v>0.8045505919246544</c:v>
                </c:pt>
              </c:numCache>
            </c:numRef>
          </c:xVal>
          <c:yVal>
            <c:numRef>
              <c:f>Sheet1!$B$114:$B$115</c:f>
              <c:numCache>
                <c:formatCode>General</c:formatCode>
                <c:ptCount val="2"/>
                <c:pt idx="0">
                  <c:v>0.088015681867628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324577332190954</c:v>
                </c:pt>
              </c:numCache>
            </c:numRef>
          </c:xVal>
          <c:yVal>
            <c:numRef>
              <c:f>Sheet1!$B$118:$B$119</c:f>
              <c:numCache>
                <c:formatCode>General</c:formatCode>
                <c:ptCount val="2"/>
                <c:pt idx="0">
                  <c:v>0.0877311295281831</c:v>
                </c:pt>
                <c:pt idx="1">
                  <c:v>0.087731129528183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324577332190954</c:v>
                </c:pt>
                <c:pt idx="1">
                  <c:v>0.8324577332190954</c:v>
                </c:pt>
              </c:numCache>
            </c:numRef>
          </c:xVal>
          <c:yVal>
            <c:numRef>
              <c:f>Sheet1!$B$122:$B$123</c:f>
              <c:numCache>
                <c:formatCode>General</c:formatCode>
                <c:ptCount val="2"/>
                <c:pt idx="0">
                  <c:v>0.087731129528183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9540160469329652</c:v>
                </c:pt>
                <c:pt idx="1">
                  <c:v>0.9578983694245535</c:v>
                </c:pt>
                <c:pt idx="2">
                  <c:v>0.9783021309636787</c:v>
                </c:pt>
                <c:pt idx="3">
                  <c:v>0.9702355275644897</c:v>
                </c:pt>
                <c:pt idx="4">
                  <c:v>0.9721766888102837</c:v>
                </c:pt>
                <c:pt idx="5">
                  <c:v>0.9795099646277284</c:v>
                </c:pt>
                <c:pt idx="6">
                  <c:v>0.9713139504788197</c:v>
                </c:pt>
                <c:pt idx="7">
                  <c:v>0.9996117677508412</c:v>
                </c:pt>
                <c:pt idx="8">
                  <c:v>0.9994823570011216</c:v>
                </c:pt>
                <c:pt idx="9">
                  <c:v>0.9769217496333361</c:v>
                </c:pt>
                <c:pt idx="10">
                  <c:v>0.975324619300289</c:v>
                </c:pt>
                <c:pt idx="11">
                  <c:v>0.9558277974290399</c:v>
                </c:pt>
                <c:pt idx="12">
                  <c:v>0.9091967906134069</c:v>
                </c:pt>
                <c:pt idx="13">
                  <c:v>0.9821413165386939</c:v>
                </c:pt>
                <c:pt idx="14">
                  <c:v>0.9773099818824951</c:v>
                </c:pt>
                <c:pt idx="15">
                  <c:v>0.9781727202139591</c:v>
                </c:pt>
                <c:pt idx="16">
                  <c:v>0.9713570873953928</c:v>
                </c:pt>
                <c:pt idx="17">
                  <c:v>0.9560003450953326</c:v>
                </c:pt>
                <c:pt idx="18">
                  <c:v>0.9209731688378914</c:v>
                </c:pt>
                <c:pt idx="19">
                  <c:v>0.9379259770511604</c:v>
                </c:pt>
                <c:pt idx="20">
                  <c:v>0.9588473815891639</c:v>
                </c:pt>
                <c:pt idx="21">
                  <c:v>0.977525666465361</c:v>
                </c:pt>
                <c:pt idx="22">
                  <c:v>0.975196272970408</c:v>
                </c:pt>
                <c:pt idx="23">
                  <c:v>0.9381821319183814</c:v>
                </c:pt>
                <c:pt idx="24">
                  <c:v>0.9010439133810715</c:v>
                </c:pt>
                <c:pt idx="25">
                  <c:v>0.9146320421016305</c:v>
                </c:pt>
                <c:pt idx="26">
                  <c:v>0.910879130359762</c:v>
                </c:pt>
                <c:pt idx="27">
                  <c:v>0.8983262876369597</c:v>
                </c:pt>
                <c:pt idx="28">
                  <c:v>0.9704080752307825</c:v>
                </c:pt>
                <c:pt idx="29">
                  <c:v>0.9667414373220602</c:v>
                </c:pt>
                <c:pt idx="30">
                  <c:v>0.951859201104305</c:v>
                </c:pt>
                <c:pt idx="31">
                  <c:v>0.9471141402812527</c:v>
                </c:pt>
                <c:pt idx="32">
                  <c:v>0.9545768268484168</c:v>
                </c:pt>
                <c:pt idx="33">
                  <c:v>1.003666796082999</c:v>
                </c:pt>
                <c:pt idx="34">
                  <c:v>0.947847467862997</c:v>
                </c:pt>
                <c:pt idx="35">
                  <c:v>0.9216633595030628</c:v>
                </c:pt>
                <c:pt idx="36">
                  <c:v>0.9045380036235011</c:v>
                </c:pt>
                <c:pt idx="37">
                  <c:v>0.8974635493054955</c:v>
                </c:pt>
                <c:pt idx="38">
                  <c:v>0.9533689931843672</c:v>
                </c:pt>
                <c:pt idx="39">
                  <c:v>0.9500474506082305</c:v>
                </c:pt>
                <c:pt idx="40">
                  <c:v>0.8924596669830042</c:v>
                </c:pt>
                <c:pt idx="41">
                  <c:v>0.8627755489409431</c:v>
                </c:pt>
                <c:pt idx="42">
                  <c:v>0.8336640496937279</c:v>
                </c:pt>
                <c:pt idx="43">
                  <c:v>0.8364248123544129</c:v>
                </c:pt>
                <c:pt idx="44">
                  <c:v>0.8765852816840651</c:v>
                </c:pt>
                <c:pt idx="45">
                  <c:v>0.9045811405400742</c:v>
                </c:pt>
                <c:pt idx="46">
                  <c:v>0.8495815719092399</c:v>
                </c:pt>
                <c:pt idx="47">
                  <c:v>0.7715900267448882</c:v>
                </c:pt>
                <c:pt idx="48">
                  <c:v>0.783840911051678</c:v>
                </c:pt>
                <c:pt idx="49">
                  <c:v>0.7720115611923559</c:v>
                </c:pt>
                <c:pt idx="50">
                  <c:v>0.8859842112074544</c:v>
                </c:pt>
                <c:pt idx="51">
                  <c:v>0.9049262358726597</c:v>
                </c:pt>
                <c:pt idx="52">
                  <c:v>0.8045505919246544</c:v>
                </c:pt>
                <c:pt idx="53">
                  <c:v>-0.11662482237207039</c:v>
                </c:pt>
                <c:pt idx="54">
                  <c:v>0.8324577332190954</c:v>
                </c:pt>
              </c:numCache>
            </c:numRef>
          </c:xVal>
          <c:yVal>
            <c:numRef>
              <c:f>Sheet1!$B$126:$B$180</c:f>
              <c:numCache>
                <c:formatCode>General</c:formatCode>
                <c:ptCount val="55"/>
                <c:pt idx="0">
                  <c:v>0.08649167249525334</c:v>
                </c:pt>
                <c:pt idx="1">
                  <c:v>0.08645208678721508</c:v>
                </c:pt>
                <c:pt idx="2">
                  <c:v>0.086244041899414</c:v>
                </c:pt>
                <c:pt idx="3">
                  <c:v>0.0863262922038935</c:v>
                </c:pt>
                <c:pt idx="4">
                  <c:v>0.08630649934987436</c:v>
                </c:pt>
                <c:pt idx="5">
                  <c:v>0.08623172634580209</c:v>
                </c:pt>
                <c:pt idx="6">
                  <c:v>0.08631529617388287</c:v>
                </c:pt>
                <c:pt idx="7">
                  <c:v>0.086026760346404</c:v>
                </c:pt>
                <c:pt idx="8">
                  <c:v>0.08602807987000527</c:v>
                </c:pt>
                <c:pt idx="9">
                  <c:v>0.08625811681782761</c:v>
                </c:pt>
                <c:pt idx="10">
                  <c:v>0.0862744017954924</c:v>
                </c:pt>
                <c:pt idx="11">
                  <c:v>0.08647319916483548</c:v>
                </c:pt>
                <c:pt idx="12">
                  <c:v>0.08694866750249504</c:v>
                </c:pt>
                <c:pt idx="13">
                  <c:v>0.08620489603257617</c:v>
                </c:pt>
                <c:pt idx="14">
                  <c:v>0.08625415824702377</c:v>
                </c:pt>
                <c:pt idx="15">
                  <c:v>0.08624536142301528</c:v>
                </c:pt>
                <c:pt idx="16">
                  <c:v>0.08631485633268245</c:v>
                </c:pt>
                <c:pt idx="17">
                  <c:v>0.08647143980003379</c:v>
                </c:pt>
                <c:pt idx="18">
                  <c:v>0.08682859085477898</c:v>
                </c:pt>
                <c:pt idx="19">
                  <c:v>0.0866557332630119</c:v>
                </c:pt>
                <c:pt idx="20">
                  <c:v>0.08644241028080572</c:v>
                </c:pt>
                <c:pt idx="21">
                  <c:v>0.08625195904102165</c:v>
                </c:pt>
                <c:pt idx="22">
                  <c:v>0.0862757104658446</c:v>
                </c:pt>
                <c:pt idx="23">
                  <c:v>0.08665312140585466</c:v>
                </c:pt>
                <c:pt idx="24">
                  <c:v>0.08703179748937538</c:v>
                </c:pt>
                <c:pt idx="25">
                  <c:v>0.08689324751124147</c:v>
                </c:pt>
                <c:pt idx="26">
                  <c:v>0.08693151369567845</c:v>
                </c:pt>
                <c:pt idx="27">
                  <c:v>0.08705950748500216</c:v>
                </c:pt>
                <c:pt idx="28">
                  <c:v>0.08632453283909179</c:v>
                </c:pt>
                <c:pt idx="29">
                  <c:v>0.08636191934112793</c:v>
                </c:pt>
                <c:pt idx="30">
                  <c:v>0.0865136645552746</c:v>
                </c:pt>
                <c:pt idx="31">
                  <c:v>0.08656204708732136</c:v>
                </c:pt>
                <c:pt idx="32">
                  <c:v>0.08648595455964782</c:v>
                </c:pt>
                <c:pt idx="33">
                  <c:v>0.08598541366075604</c:v>
                </c:pt>
                <c:pt idx="34">
                  <c:v>0.08655456978691413</c:v>
                </c:pt>
                <c:pt idx="35">
                  <c:v>0.08682155339557218</c:v>
                </c:pt>
                <c:pt idx="36">
                  <c:v>0.08699617035214094</c:v>
                </c:pt>
                <c:pt idx="37">
                  <c:v>0.08706830430901066</c:v>
                </c:pt>
                <c:pt idx="38">
                  <c:v>0.08649827011325972</c:v>
                </c:pt>
                <c:pt idx="39">
                  <c:v>0.08653213788569245</c:v>
                </c:pt>
                <c:pt idx="40">
                  <c:v>0.08711932588825998</c:v>
                </c:pt>
                <c:pt idx="41">
                  <c:v>0.08742199699111974</c:v>
                </c:pt>
                <c:pt idx="42">
                  <c:v>0.08771882944443941</c:v>
                </c:pt>
                <c:pt idx="43">
                  <c:v>0.0876906796076122</c:v>
                </c:pt>
                <c:pt idx="44">
                  <c:v>0.08728118745001642</c:v>
                </c:pt>
                <c:pt idx="45">
                  <c:v>0.08699573051094052</c:v>
                </c:pt>
                <c:pt idx="46">
                  <c:v>0.08755652804148255</c:v>
                </c:pt>
                <c:pt idx="47">
                  <c:v>0.08835176093185115</c:v>
                </c:pt>
                <c:pt idx="48">
                  <c:v>0.08822684603093042</c:v>
                </c:pt>
                <c:pt idx="49">
                  <c:v>0.0883474627985555</c:v>
                </c:pt>
                <c:pt idx="50">
                  <c:v>0.08718535221716515</c:v>
                </c:pt>
                <c:pt idx="51">
                  <c:v>0.08699221178133712</c:v>
                </c:pt>
                <c:pt idx="52">
                  <c:v>0.08801568186762883</c:v>
                </c:pt>
                <c:pt idx="53">
                  <c:v>0.09740835367204023</c:v>
                </c:pt>
                <c:pt idx="54">
                  <c:v>0.087731129528183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656579700662466"/>
          <c:min val="0.0519272817241675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5583</c:v>
                </c:pt>
                <c:pt idx="1">
                  <c:v>2.5396</c:v>
                </c:pt>
                <c:pt idx="2">
                  <c:v>2.7767</c:v>
                </c:pt>
                <c:pt idx="3">
                  <c:v>2.9992</c:v>
                </c:pt>
                <c:pt idx="4">
                  <c:v>3.0257</c:v>
                </c:pt>
                <c:pt idx="5">
                  <c:v>3.0091</c:v>
                </c:pt>
                <c:pt idx="6">
                  <c:v>2.8289</c:v>
                </c:pt>
                <c:pt idx="7">
                  <c:v>2.2731</c:v>
                </c:pt>
                <c:pt idx="8">
                  <c:v>2.2451</c:v>
                </c:pt>
                <c:pt idx="9">
                  <c:v>2.27</c:v>
                </c:pt>
                <c:pt idx="10">
                  <c:v>2.2231</c:v>
                </c:pt>
                <c:pt idx="11">
                  <c:v>2.7092</c:v>
                </c:pt>
                <c:pt idx="12">
                  <c:v>3.0102</c:v>
                </c:pt>
                <c:pt idx="13">
                  <c:v>2.9939</c:v>
                </c:pt>
                <c:pt idx="14">
                  <c:v>3.0119</c:v>
                </c:pt>
                <c:pt idx="15">
                  <c:v>3.0081</c:v>
                </c:pt>
                <c:pt idx="16">
                  <c:v>2.6738</c:v>
                </c:pt>
                <c:pt idx="17">
                  <c:v>2.5505</c:v>
                </c:pt>
                <c:pt idx="18">
                  <c:v>2.5543</c:v>
                </c:pt>
                <c:pt idx="19">
                  <c:v>2.8385</c:v>
                </c:pt>
                <c:pt idx="20">
                  <c:v>3.1791</c:v>
                </c:pt>
                <c:pt idx="21">
                  <c:v>3.0818</c:v>
                </c:pt>
                <c:pt idx="22">
                  <c:v>2.8254</c:v>
                </c:pt>
                <c:pt idx="23">
                  <c:v>2.6034</c:v>
                </c:pt>
                <c:pt idx="24">
                  <c:v>2.616</c:v>
                </c:pt>
                <c:pt idx="25">
                  <c:v>2.9625</c:v>
                </c:pt>
                <c:pt idx="26">
                  <c:v>3.0544</c:v>
                </c:pt>
                <c:pt idx="27">
                  <c:v>3.1444</c:v>
                </c:pt>
                <c:pt idx="28">
                  <c:v>2.7746</c:v>
                </c:pt>
                <c:pt idx="29">
                  <c:v>2.6305</c:v>
                </c:pt>
                <c:pt idx="30">
                  <c:v>2.6225</c:v>
                </c:pt>
                <c:pt idx="31">
                  <c:v>2.9278</c:v>
                </c:pt>
                <c:pt idx="32">
                  <c:v>3.1128</c:v>
                </c:pt>
                <c:pt idx="33">
                  <c:v>3.1051</c:v>
                </c:pt>
                <c:pt idx="34">
                  <c:v>2.7542</c:v>
                </c:pt>
                <c:pt idx="35">
                  <c:v>2.6246</c:v>
                </c:pt>
                <c:pt idx="36">
                  <c:v>2.6544</c:v>
                </c:pt>
                <c:pt idx="37">
                  <c:v>2.8255</c:v>
                </c:pt>
                <c:pt idx="38">
                  <c:v>3.1016</c:v>
                </c:pt>
                <c:pt idx="39">
                  <c:v>3.1071</c:v>
                </c:pt>
                <c:pt idx="40">
                  <c:v>3.1162</c:v>
                </c:pt>
                <c:pt idx="41">
                  <c:v>2.6567</c:v>
                </c:pt>
                <c:pt idx="42">
                  <c:v>2.6456</c:v>
                </c:pt>
                <c:pt idx="43">
                  <c:v>2.6317</c:v>
                </c:pt>
              </c:numCache>
            </c:numRef>
          </c:xVal>
          <c:yVal>
            <c:numRef>
              <c:f>Sheet1!$B$2:$B$45</c:f>
              <c:numCache>
                <c:formatCode>General</c:formatCode>
                <c:ptCount val="44"/>
                <c:pt idx="0">
                  <c:v>0.923998824141284</c:v>
                </c:pt>
                <c:pt idx="1">
                  <c:v>0.9199002649213028</c:v>
                </c:pt>
                <c:pt idx="2">
                  <c:v>0.9285211448979241</c:v>
                </c:pt>
                <c:pt idx="3">
                  <c:v>0.9181637504384085</c:v>
                </c:pt>
                <c:pt idx="4">
                  <c:v>0.9149200465327207</c:v>
                </c:pt>
                <c:pt idx="5">
                  <c:v>0.9160847508206506</c:v>
                </c:pt>
                <c:pt idx="6">
                  <c:v>0.9216634806694496</c:v>
                </c:pt>
                <c:pt idx="7">
                  <c:v>0.9544324314368334</c:v>
                </c:pt>
                <c:pt idx="8">
                  <c:v>0.9431651906045437</c:v>
                </c:pt>
                <c:pt idx="9">
                  <c:v>0.943327393565787</c:v>
                </c:pt>
                <c:pt idx="10">
                  <c:v>0.9469045571797077</c:v>
                </c:pt>
                <c:pt idx="11">
                  <c:v>0.9403435182519774</c:v>
                </c:pt>
                <c:pt idx="12">
                  <c:v>0.9138730490716442</c:v>
                </c:pt>
                <c:pt idx="13">
                  <c:v>0.9230122954130515</c:v>
                </c:pt>
                <c:pt idx="14">
                  <c:v>0.9360229407693068</c:v>
                </c:pt>
                <c:pt idx="15">
                  <c:v>0.9372759568551174</c:v>
                </c:pt>
                <c:pt idx="16">
                  <c:v>0.9517192178613774</c:v>
                </c:pt>
                <c:pt idx="17">
                  <c:v>0.9445575985728533</c:v>
                </c:pt>
                <c:pt idx="18">
                  <c:v>0.931594434555164</c:v>
                </c:pt>
                <c:pt idx="19">
                  <c:v>0.916500727150688</c:v>
                </c:pt>
                <c:pt idx="20">
                  <c:v>0.9024308312465644</c:v>
                </c:pt>
                <c:pt idx="21">
                  <c:v>0.9396336721285098</c:v>
                </c:pt>
                <c:pt idx="22">
                  <c:v>0.9489967574420363</c:v>
                </c:pt>
                <c:pt idx="23">
                  <c:v>0.9356364544631428</c:v>
                </c:pt>
                <c:pt idx="24">
                  <c:v>0.9276786416162252</c:v>
                </c:pt>
                <c:pt idx="25">
                  <c:v>0.9254725333949263</c:v>
                </c:pt>
                <c:pt idx="26">
                  <c:v>0.9314639241523381</c:v>
                </c:pt>
                <c:pt idx="27">
                  <c:v>0.9284971797624525</c:v>
                </c:pt>
                <c:pt idx="28">
                  <c:v>0.9405412177399148</c:v>
                </c:pt>
                <c:pt idx="29">
                  <c:v>0.9464607726106723</c:v>
                </c:pt>
                <c:pt idx="30">
                  <c:v>0.9341920747133915</c:v>
                </c:pt>
                <c:pt idx="31">
                  <c:v>0.9144554149953718</c:v>
                </c:pt>
                <c:pt idx="32">
                  <c:v>0.911655988171513</c:v>
                </c:pt>
                <c:pt idx="33">
                  <c:v>0.9441517506628282</c:v>
                </c:pt>
                <c:pt idx="34">
                  <c:v>0.9294982636113976</c:v>
                </c:pt>
                <c:pt idx="35">
                  <c:v>0.9347924790342397</c:v>
                </c:pt>
                <c:pt idx="36">
                  <c:v>0.9423397585539919</c:v>
                </c:pt>
                <c:pt idx="37">
                  <c:v>0.9026514299732199</c:v>
                </c:pt>
                <c:pt idx="38">
                  <c:v>0.9196474489705438</c:v>
                </c:pt>
                <c:pt idx="39">
                  <c:v>0.9168016194331984</c:v>
                </c:pt>
                <c:pt idx="40">
                  <c:v>0.9244649759592721</c:v>
                </c:pt>
                <c:pt idx="41">
                  <c:v>0.935184109652689</c:v>
                </c:pt>
                <c:pt idx="42">
                  <c:v>0.912592403772623</c:v>
                </c:pt>
                <c:pt idx="43">
                  <c:v>0.920648926453969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numCache>
            </c:numRef>
          </c:xVal>
          <c:yVal>
            <c:numRef>
              <c:f>Sheet1!$B$48:$B$99</c:f>
              <c:numCache>
                <c:formatCode>General</c:formatCode>
                <c:ptCount val="52"/>
                <c:pt idx="0">
                  <c:v>0.9330344634351359</c:v>
                </c:pt>
                <c:pt idx="1">
                  <c:v>0.926725476229613</c:v>
                </c:pt>
                <c:pt idx="2">
                  <c:v>0.9230279791705038</c:v>
                </c:pt>
                <c:pt idx="3">
                  <c:v>0.9187745292968412</c:v>
                </c:pt>
                <c:pt idx="4">
                  <c:v>0.9422374129091626</c:v>
                </c:pt>
                <c:pt idx="5">
                  <c:v>0.9367315185812439</c:v>
                </c:pt>
                <c:pt idx="6">
                  <c:v>0.9313522342214963</c:v>
                </c:pt>
                <c:pt idx="7">
                  <c:v>0.9423012242701466</c:v>
                </c:pt>
                <c:pt idx="8">
                  <c:v>0.9511480214948705</c:v>
                </c:pt>
                <c:pt idx="9">
                  <c:v>0.9424725319825049</c:v>
                </c:pt>
                <c:pt idx="10">
                  <c:v>0.944814744532473</c:v>
                </c:pt>
                <c:pt idx="11">
                  <c:v>0.9347346194452443</c:v>
                </c:pt>
                <c:pt idx="12">
                  <c:v>0.9233167718153075</c:v>
                </c:pt>
                <c:pt idx="13">
                  <c:v>0.9433755312828481</c:v>
                </c:pt>
                <c:pt idx="14">
                  <c:v>0.9541690668202765</c:v>
                </c:pt>
                <c:pt idx="15">
                  <c:v>0.948404568229304</c:v>
                </c:pt>
                <c:pt idx="16">
                  <c:v>0.9452005249506567</c:v>
                </c:pt>
                <c:pt idx="17">
                  <c:v>0.9392130005186378</c:v>
                </c:pt>
                <c:pt idx="18">
                  <c:v>0.9373758807366903</c:v>
                </c:pt>
                <c:pt idx="19">
                  <c:v>0.9432566796463645</c:v>
                </c:pt>
                <c:pt idx="20">
                  <c:v>0.9508288988948015</c:v>
                </c:pt>
                <c:pt idx="21">
                  <c:v>0.954762992532898</c:v>
                </c:pt>
                <c:pt idx="22">
                  <c:v>0.9409789945269926</c:v>
                </c:pt>
                <c:pt idx="23">
                  <c:v>0.9522867243257666</c:v>
                </c:pt>
                <c:pt idx="24">
                  <c:v>0.947952780567886</c:v>
                </c:pt>
                <c:pt idx="25">
                  <c:v>0.9441283807428885</c:v>
                </c:pt>
                <c:pt idx="26">
                  <c:v>0.9505942941938111</c:v>
                </c:pt>
                <c:pt idx="27">
                  <c:v>0.9550801943663001</c:v>
                </c:pt>
                <c:pt idx="28">
                  <c:v>0.9536255269826479</c:v>
                </c:pt>
                <c:pt idx="29">
                  <c:v>0.9453087863098526</c:v>
                </c:pt>
                <c:pt idx="30">
                  <c:v>0.9419117203067447</c:v>
                </c:pt>
                <c:pt idx="31">
                  <c:v>0.9480310710597953</c:v>
                </c:pt>
                <c:pt idx="32">
                  <c:v>0.921006867029341</c:v>
                </c:pt>
                <c:pt idx="33">
                  <c:v>0.9477825800995959</c:v>
                </c:pt>
                <c:pt idx="34">
                  <c:v>0.95110890284114</c:v>
                </c:pt>
                <c:pt idx="35">
                  <c:v>0.9561966672934519</c:v>
                </c:pt>
                <c:pt idx="36">
                  <c:v>0.9508590542800669</c:v>
                </c:pt>
                <c:pt idx="37">
                  <c:v>0.951601934059382</c:v>
                </c:pt>
                <c:pt idx="38">
                  <c:v>0.9492346914952232</c:v>
                </c:pt>
                <c:pt idx="39">
                  <c:v>0.9461316593145572</c:v>
                </c:pt>
                <c:pt idx="40">
                  <c:v>0.9499377625641824</c:v>
                </c:pt>
                <c:pt idx="41">
                  <c:v>0.9536072751099507</c:v>
                </c:pt>
                <c:pt idx="42">
                  <c:v>0.9433886798979547</c:v>
                </c:pt>
                <c:pt idx="43">
                  <c:v>0.9476717875431702</c:v>
                </c:pt>
                <c:pt idx="44">
                  <c:v>0.9507087747794307</c:v>
                </c:pt>
                <c:pt idx="45">
                  <c:v>0.9410016257006284</c:v>
                </c:pt>
                <c:pt idx="46">
                  <c:v>0.9373557575834853</c:v>
                </c:pt>
                <c:pt idx="47">
                  <c:v>0.9515864438932989</c:v>
                </c:pt>
                <c:pt idx="48">
                  <c:v>0.9485339251145002</c:v>
                </c:pt>
                <c:pt idx="49">
                  <c:v>0.9547419885049048</c:v>
                </c:pt>
                <c:pt idx="50">
                  <c:v>0.931488649783493</c:v>
                </c:pt>
                <c:pt idx="51">
                  <c:v>0.943720286296431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770853903633438</c:v>
                </c:pt>
              </c:numCache>
            </c:numRef>
          </c:xVal>
          <c:yVal>
            <c:numRef>
              <c:f>Sheet1!$B$102:$B$103</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770853903633438</c:v>
                </c:pt>
                <c:pt idx="1">
                  <c:v>2.770853903633438</c:v>
                </c:pt>
              </c:numCache>
            </c:numRef>
          </c:xVal>
          <c:yVal>
            <c:numRef>
              <c:f>Sheet1!$B$106:$B$107</c:f>
              <c:numCache>
                <c:formatCode>General</c:formatCode>
                <c:ptCount val="2"/>
                <c:pt idx="0">
                  <c:v>0.947872483870565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770853903633438</c:v>
                </c:pt>
              </c:numCache>
            </c:numRef>
          </c:xVal>
          <c:yVal>
            <c:numRef>
              <c:f>Sheet1!$B$110:$B$111</c:f>
              <c:numCache>
                <c:formatCode>General</c:formatCode>
                <c:ptCount val="2"/>
                <c:pt idx="0">
                  <c:v>0.9478724838705657</c:v>
                </c:pt>
                <c:pt idx="1">
                  <c:v>0.9478724838705657</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770853903633438</c:v>
                </c:pt>
                <c:pt idx="1">
                  <c:v>2.770853903633438</c:v>
                </c:pt>
              </c:numCache>
            </c:numRef>
          </c:xVal>
          <c:yVal>
            <c:numRef>
              <c:f>Sheet1!$B$114:$B$115</c:f>
              <c:numCache>
                <c:formatCode>General</c:formatCode>
                <c:ptCount val="2"/>
                <c:pt idx="0">
                  <c:v>0.947872483870565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849565856825672</c:v>
                </c:pt>
              </c:numCache>
            </c:numRef>
          </c:xVal>
          <c:yVal>
            <c:numRef>
              <c:f>Sheet1!$B$118:$B$119</c:f>
              <c:numCache>
                <c:formatCode>General</c:formatCode>
                <c:ptCount val="2"/>
                <c:pt idx="0">
                  <c:v>0.9461442012373836</c:v>
                </c:pt>
                <c:pt idx="1">
                  <c:v>0.9461442012373836</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849565856825672</c:v>
                </c:pt>
                <c:pt idx="1">
                  <c:v>2.849565856825672</c:v>
                </c:pt>
              </c:numCache>
            </c:numRef>
          </c:xVal>
          <c:yVal>
            <c:numRef>
              <c:f>Sheet1!$B$122:$B$123</c:f>
              <c:numCache>
                <c:formatCode>General</c:formatCode>
                <c:ptCount val="2"/>
                <c:pt idx="0">
                  <c:v>0.9461442012373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0346</c:v>
                </c:pt>
                <c:pt idx="1">
                  <c:v>3.1388</c:v>
                </c:pt>
                <c:pt idx="2">
                  <c:v>3.1454</c:v>
                </c:pt>
                <c:pt idx="3">
                  <c:v>3.134</c:v>
                </c:pt>
                <c:pt idx="4">
                  <c:v>3.1465</c:v>
                </c:pt>
                <c:pt idx="5">
                  <c:v>3.1426</c:v>
                </c:pt>
                <c:pt idx="6">
                  <c:v>3.1485</c:v>
                </c:pt>
                <c:pt idx="7">
                  <c:v>3.2327</c:v>
                </c:pt>
                <c:pt idx="8">
                  <c:v>3.0333</c:v>
                </c:pt>
                <c:pt idx="9">
                  <c:v>2.7635</c:v>
                </c:pt>
                <c:pt idx="10">
                  <c:v>2.7513</c:v>
                </c:pt>
                <c:pt idx="11">
                  <c:v>3.085</c:v>
                </c:pt>
                <c:pt idx="12">
                  <c:v>3.2666</c:v>
                </c:pt>
                <c:pt idx="13">
                  <c:v>3.2002</c:v>
                </c:pt>
                <c:pt idx="14">
                  <c:v>2.8917</c:v>
                </c:pt>
                <c:pt idx="15">
                  <c:v>2.6713</c:v>
                </c:pt>
                <c:pt idx="16">
                  <c:v>2.6809</c:v>
                </c:pt>
                <c:pt idx="17">
                  <c:v>2.8042</c:v>
                </c:pt>
                <c:pt idx="18">
                  <c:v>3.1836</c:v>
                </c:pt>
                <c:pt idx="19">
                  <c:v>3.1854</c:v>
                </c:pt>
                <c:pt idx="20">
                  <c:v>2.9143</c:v>
                </c:pt>
                <c:pt idx="21">
                  <c:v>2.6814</c:v>
                </c:pt>
                <c:pt idx="22">
                  <c:v>2.6907</c:v>
                </c:pt>
                <c:pt idx="23">
                  <c:v>2.8813</c:v>
                </c:pt>
                <c:pt idx="24">
                  <c:v>3.1762</c:v>
                </c:pt>
                <c:pt idx="25">
                  <c:v>3.2028</c:v>
                </c:pt>
                <c:pt idx="26">
                  <c:v>2.925</c:v>
                </c:pt>
                <c:pt idx="27">
                  <c:v>2.688</c:v>
                </c:pt>
                <c:pt idx="28">
                  <c:v>2.6827</c:v>
                </c:pt>
                <c:pt idx="29">
                  <c:v>2.8566</c:v>
                </c:pt>
                <c:pt idx="30">
                  <c:v>3.1925</c:v>
                </c:pt>
                <c:pt idx="31">
                  <c:v>3.1806</c:v>
                </c:pt>
                <c:pt idx="32">
                  <c:v>3.1792</c:v>
                </c:pt>
                <c:pt idx="33">
                  <c:v>3.1949</c:v>
                </c:pt>
                <c:pt idx="34">
                  <c:v>2.9098</c:v>
                </c:pt>
                <c:pt idx="35">
                  <c:v>2.6861</c:v>
                </c:pt>
                <c:pt idx="36">
                  <c:v>2.6866</c:v>
                </c:pt>
                <c:pt idx="37">
                  <c:v>2.6823</c:v>
                </c:pt>
                <c:pt idx="38">
                  <c:v>2.8664</c:v>
                </c:pt>
                <c:pt idx="39">
                  <c:v>3.1821</c:v>
                </c:pt>
                <c:pt idx="40">
                  <c:v>3.1777</c:v>
                </c:pt>
                <c:pt idx="41">
                  <c:v>2.8924</c:v>
                </c:pt>
                <c:pt idx="42">
                  <c:v>2.6839</c:v>
                </c:pt>
                <c:pt idx="43">
                  <c:v>2.6923</c:v>
                </c:pt>
                <c:pt idx="44">
                  <c:v>2.8695</c:v>
                </c:pt>
                <c:pt idx="45">
                  <c:v>3.1896</c:v>
                </c:pt>
                <c:pt idx="46">
                  <c:v>3.1869</c:v>
                </c:pt>
                <c:pt idx="47">
                  <c:v>2.8912</c:v>
                </c:pt>
                <c:pt idx="48">
                  <c:v>2.6806</c:v>
                </c:pt>
                <c:pt idx="49">
                  <c:v>2.6774</c:v>
                </c:pt>
                <c:pt idx="50">
                  <c:v>2.6848</c:v>
                </c:pt>
                <c:pt idx="51">
                  <c:v>3.1297</c:v>
                </c:pt>
                <c:pt idx="52">
                  <c:v>2.770853903633438</c:v>
                </c:pt>
                <c:pt idx="53">
                  <c:v>2.770853903633438</c:v>
                </c:pt>
                <c:pt idx="54">
                  <c:v>2.849565856825672</c:v>
                </c:pt>
              </c:numCache>
            </c:numRef>
          </c:xVal>
          <c:yVal>
            <c:numRef>
              <c:f>Sheet1!$B$126:$B$180</c:f>
              <c:numCache>
                <c:formatCode>General</c:formatCode>
                <c:ptCount val="55"/>
                <c:pt idx="0">
                  <c:v>0.9420813965015781</c:v>
                </c:pt>
                <c:pt idx="1">
                  <c:v>0.939793471439704</c:v>
                </c:pt>
                <c:pt idx="2">
                  <c:v>0.9396485548810825</c:v>
                </c:pt>
                <c:pt idx="3">
                  <c:v>0.9398988653005198</c:v>
                </c:pt>
                <c:pt idx="4">
                  <c:v>0.9396244021213123</c:v>
                </c:pt>
                <c:pt idx="5">
                  <c:v>0.939710034633225</c:v>
                </c:pt>
                <c:pt idx="6">
                  <c:v>0.939580488012639</c:v>
                </c:pt>
                <c:pt idx="7">
                  <c:v>0.9377317040374971</c:v>
                </c:pt>
                <c:pt idx="8">
                  <c:v>0.9421099406722157</c:v>
                </c:pt>
                <c:pt idx="9">
                  <c:v>0.9480339539322312</c:v>
                </c:pt>
                <c:pt idx="10">
                  <c:v>0.9483018299951378</c:v>
                </c:pt>
                <c:pt idx="11">
                  <c:v>0.9409747609630134</c:v>
                </c:pt>
                <c:pt idx="12">
                  <c:v>0.9369873598954862</c:v>
                </c:pt>
                <c:pt idx="13">
                  <c:v>0.9384453083034366</c:v>
                </c:pt>
                <c:pt idx="14">
                  <c:v>0.9452190595662787</c:v>
                </c:pt>
                <c:pt idx="15">
                  <c:v>0.950058394342066</c:v>
                </c:pt>
                <c:pt idx="16">
                  <c:v>0.9498476066204347</c:v>
                </c:pt>
                <c:pt idx="17">
                  <c:v>0.9471403018207315</c:v>
                </c:pt>
                <c:pt idx="18">
                  <c:v>0.9388097954054242</c:v>
                </c:pt>
                <c:pt idx="19">
                  <c:v>0.9387702727076184</c:v>
                </c:pt>
                <c:pt idx="20">
                  <c:v>0.9447228301382715</c:v>
                </c:pt>
                <c:pt idx="21">
                  <c:v>0.9498366280932663</c:v>
                </c:pt>
                <c:pt idx="22">
                  <c:v>0.9496324274879359</c:v>
                </c:pt>
                <c:pt idx="23">
                  <c:v>0.9454474129313793</c:v>
                </c:pt>
                <c:pt idx="24">
                  <c:v>0.9389722776075151</c:v>
                </c:pt>
                <c:pt idx="25">
                  <c:v>0.9383882199621615</c:v>
                </c:pt>
                <c:pt idx="26">
                  <c:v>0.9444878896568698</c:v>
                </c:pt>
                <c:pt idx="27">
                  <c:v>0.9496917115346447</c:v>
                </c:pt>
                <c:pt idx="28">
                  <c:v>0.9498080839226287</c:v>
                </c:pt>
                <c:pt idx="29">
                  <c:v>0.9459897521734935</c:v>
                </c:pt>
                <c:pt idx="30">
                  <c:v>0.9386143776218285</c:v>
                </c:pt>
                <c:pt idx="31">
                  <c:v>0.938875666568434</c:v>
                </c:pt>
                <c:pt idx="32">
                  <c:v>0.9389064064445053</c:v>
                </c:pt>
                <c:pt idx="33">
                  <c:v>0.9385616806914207</c:v>
                </c:pt>
                <c:pt idx="34">
                  <c:v>0.9448216368827862</c:v>
                </c:pt>
                <c:pt idx="35">
                  <c:v>0.9497334299378842</c:v>
                </c:pt>
                <c:pt idx="36">
                  <c:v>0.949722451410716</c:v>
                </c:pt>
                <c:pt idx="37">
                  <c:v>0.9498168667443634</c:v>
                </c:pt>
                <c:pt idx="38">
                  <c:v>0.9457745730409948</c:v>
                </c:pt>
                <c:pt idx="39">
                  <c:v>0.9388427309869292</c:v>
                </c:pt>
                <c:pt idx="40">
                  <c:v>0.9389393420260101</c:v>
                </c:pt>
                <c:pt idx="41">
                  <c:v>0.9452036896282431</c:v>
                </c:pt>
                <c:pt idx="42">
                  <c:v>0.9497817354574248</c:v>
                </c:pt>
                <c:pt idx="43">
                  <c:v>0.9495972962009973</c:v>
                </c:pt>
                <c:pt idx="44">
                  <c:v>0.9457065061725513</c:v>
                </c:pt>
                <c:pt idx="45">
                  <c:v>0.9386780530794047</c:v>
                </c:pt>
                <c:pt idx="46">
                  <c:v>0.9387373371261134</c:v>
                </c:pt>
                <c:pt idx="47">
                  <c:v>0.945230038093447</c:v>
                </c:pt>
                <c:pt idx="48">
                  <c:v>0.9498541937367356</c:v>
                </c:pt>
                <c:pt idx="49">
                  <c:v>0.9499244563106127</c:v>
                </c:pt>
                <c:pt idx="50">
                  <c:v>0.9497619741085218</c:v>
                </c:pt>
                <c:pt idx="51">
                  <c:v>0.9399932806341671</c:v>
                </c:pt>
                <c:pt idx="52">
                  <c:v>0.9478724838705657</c:v>
                </c:pt>
                <c:pt idx="53">
                  <c:v>0.9478724838705657</c:v>
                </c:pt>
                <c:pt idx="54">
                  <c:v>0.946144201237383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1474360007521422"/>
          <c:min val="0.721944664997251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863645920941967</c:v>
                </c:pt>
                <c:pt idx="1">
                  <c:v>1.0863645920941967</c:v>
                </c:pt>
                <c:pt idx="2">
                  <c:v>1.022445332211943</c:v>
                </c:pt>
                <c:pt idx="3">
                  <c:v>0.9773969722455844</c:v>
                </c:pt>
                <c:pt idx="4">
                  <c:v>0.9773969722455844</c:v>
                </c:pt>
                <c:pt idx="5">
                  <c:v>0.9774483519949534</c:v>
                </c:pt>
                <c:pt idx="6">
                  <c:v>0.9963730025231287</c:v>
                </c:pt>
                <c:pt idx="7">
                  <c:v>1.0863645920941967</c:v>
                </c:pt>
                <c:pt idx="8">
                  <c:v>1.0863645920941967</c:v>
                </c:pt>
                <c:pt idx="9">
                  <c:v>1.0863645920941967</c:v>
                </c:pt>
                <c:pt idx="10">
                  <c:v>1.0863645920941967</c:v>
                </c:pt>
                <c:pt idx="11">
                  <c:v>1.0859485885507016</c:v>
                </c:pt>
                <c:pt idx="12">
                  <c:v>1.0863645920941967</c:v>
                </c:pt>
                <c:pt idx="13">
                  <c:v>1.0039949537426407</c:v>
                </c:pt>
                <c:pt idx="14">
                  <c:v>0.9779226240538267</c:v>
                </c:pt>
                <c:pt idx="15">
                  <c:v>0.9779226240538267</c:v>
                </c:pt>
                <c:pt idx="16">
                  <c:v>0.9779740314356306</c:v>
                </c:pt>
                <c:pt idx="17">
                  <c:v>1.0631866687693843</c:v>
                </c:pt>
                <c:pt idx="18">
                  <c:v>1.086421700047311</c:v>
                </c:pt>
                <c:pt idx="19">
                  <c:v>1.0164003364171572</c:v>
                </c:pt>
                <c:pt idx="20">
                  <c:v>0.9779740314356306</c:v>
                </c:pt>
                <c:pt idx="21">
                  <c:v>0.9790264928511354</c:v>
                </c:pt>
                <c:pt idx="22">
                  <c:v>1.048780487804878</c:v>
                </c:pt>
                <c:pt idx="23">
                  <c:v>1.0863645920941967</c:v>
                </c:pt>
                <c:pt idx="24">
                  <c:v>1.0233389402859545</c:v>
                </c:pt>
                <c:pt idx="25">
                  <c:v>0.9779740314356306</c:v>
                </c:pt>
                <c:pt idx="26">
                  <c:v>1.1271092887557166</c:v>
                </c:pt>
                <c:pt idx="27">
                  <c:v>1.1406192503811174</c:v>
                </c:pt>
                <c:pt idx="28">
                  <c:v>1.0921467619848613</c:v>
                </c:pt>
                <c:pt idx="29">
                  <c:v>1.1231141250065708</c:v>
                </c:pt>
                <c:pt idx="30">
                  <c:v>1.0976712400778004</c:v>
                </c:pt>
                <c:pt idx="31">
                  <c:v>1.090937762825904</c:v>
                </c:pt>
                <c:pt idx="32">
                  <c:v>1.042630361648444</c:v>
                </c:pt>
                <c:pt idx="33">
                  <c:v>1.052565180824222</c:v>
                </c:pt>
                <c:pt idx="34">
                  <c:v>1.1100714886459209</c:v>
                </c:pt>
                <c:pt idx="35">
                  <c:v>1.1592724978973927</c:v>
                </c:pt>
                <c:pt idx="36">
                  <c:v>1.1517110865794038</c:v>
                </c:pt>
                <c:pt idx="37">
                  <c:v>1.116011354079058</c:v>
                </c:pt>
                <c:pt idx="38">
                  <c:v>1.0757504074015667</c:v>
                </c:pt>
                <c:pt idx="39">
                  <c:v>1.0329601009304525</c:v>
                </c:pt>
                <c:pt idx="40">
                  <c:v>1.0467830109335576</c:v>
                </c:pt>
                <c:pt idx="41">
                  <c:v>1.1864486963835155</c:v>
                </c:pt>
                <c:pt idx="42">
                  <c:v>1.171888141295206</c:v>
                </c:pt>
                <c:pt idx="43">
                  <c:v>1.1612174095878889</c:v>
                </c:pt>
              </c:numCache>
            </c:numRef>
          </c:xVal>
          <c:yVal>
            <c:numRef>
              <c:f>Sheet1!$B$2:$B$45</c:f>
              <c:numCache>
                <c:formatCode>General</c:formatCode>
                <c:ptCount val="44"/>
                <c:pt idx="0">
                  <c:v>0.40391533317545697</c:v>
                </c:pt>
                <c:pt idx="1">
                  <c:v>0.44427045339097954</c:v>
                </c:pt>
                <c:pt idx="2">
                  <c:v>0.4525398498001238</c:v>
                </c:pt>
                <c:pt idx="3">
                  <c:v>0.4935385063618206</c:v>
                </c:pt>
                <c:pt idx="4">
                  <c:v>0.4588489099616782</c:v>
                </c:pt>
                <c:pt idx="5">
                  <c:v>0.46717134194092486</c:v>
                </c:pt>
                <c:pt idx="6">
                  <c:v>0.49704038373504766</c:v>
                </c:pt>
                <c:pt idx="7">
                  <c:v>0.4211174393905011</c:v>
                </c:pt>
                <c:pt idx="8">
                  <c:v>0.45147744840575993</c:v>
                </c:pt>
                <c:pt idx="9">
                  <c:v>0.42784262193707967</c:v>
                </c:pt>
                <c:pt idx="10">
                  <c:v>0.44327130560797523</c:v>
                </c:pt>
                <c:pt idx="11">
                  <c:v>0.44538206626100907</c:v>
                </c:pt>
                <c:pt idx="12">
                  <c:v>0.4519026197195467</c:v>
                </c:pt>
                <c:pt idx="13">
                  <c:v>0.4873145766051782</c:v>
                </c:pt>
                <c:pt idx="14">
                  <c:v>0.4685100047019487</c:v>
                </c:pt>
                <c:pt idx="15">
                  <c:v>0.44467066626851626</c:v>
                </c:pt>
                <c:pt idx="16">
                  <c:v>0.4612546125461255</c:v>
                </c:pt>
                <c:pt idx="17">
                  <c:v>0.47695088501354593</c:v>
                </c:pt>
                <c:pt idx="18">
                  <c:v>0.45192610281186946</c:v>
                </c:pt>
                <c:pt idx="19">
                  <c:v>0.5004256768261536</c:v>
                </c:pt>
                <c:pt idx="20">
                  <c:v>0.43620381122274393</c:v>
                </c:pt>
                <c:pt idx="21">
                  <c:v>0.4676179733032525</c:v>
                </c:pt>
                <c:pt idx="22">
                  <c:v>0.44983947293614035</c:v>
                </c:pt>
                <c:pt idx="23">
                  <c:v>0.4357310987256297</c:v>
                </c:pt>
                <c:pt idx="24">
                  <c:v>0.46230915365714315</c:v>
                </c:pt>
                <c:pt idx="25">
                  <c:v>0.4633220799139686</c:v>
                </c:pt>
                <c:pt idx="26">
                  <c:v>0.5194470981609745</c:v>
                </c:pt>
                <c:pt idx="27">
                  <c:v>0.5112137349736692</c:v>
                </c:pt>
                <c:pt idx="28">
                  <c:v>0.47697519381474357</c:v>
                </c:pt>
                <c:pt idx="29">
                  <c:v>0.4567692887454328</c:v>
                </c:pt>
                <c:pt idx="30">
                  <c:v>0.47349336000853215</c:v>
                </c:pt>
                <c:pt idx="31">
                  <c:v>0.4759545497229787</c:v>
                </c:pt>
                <c:pt idx="32">
                  <c:v>0.5069400159607613</c:v>
                </c:pt>
                <c:pt idx="33">
                  <c:v>0.49635369932294643</c:v>
                </c:pt>
                <c:pt idx="34">
                  <c:v>0.48928737539860734</c:v>
                </c:pt>
                <c:pt idx="35">
                  <c:v>0.461839777166582</c:v>
                </c:pt>
                <c:pt idx="36">
                  <c:v>0.443313373253493</c:v>
                </c:pt>
                <c:pt idx="37">
                  <c:v>0.5271251022025236</c:v>
                </c:pt>
                <c:pt idx="38">
                  <c:v>0.5028901935749445</c:v>
                </c:pt>
                <c:pt idx="39">
                  <c:v>0.5271452658323827</c:v>
                </c:pt>
                <c:pt idx="40">
                  <c:v>0.49804379352659006</c:v>
                </c:pt>
                <c:pt idx="41">
                  <c:v>0.49005561550593507</c:v>
                </c:pt>
                <c:pt idx="42">
                  <c:v>0.44948453608247424</c:v>
                </c:pt>
                <c:pt idx="43">
                  <c:v>0.457362358539137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162592651001419</c:v>
                </c:pt>
                <c:pt idx="1">
                  <c:v>1.167323765967513</c:v>
                </c:pt>
                <c:pt idx="2">
                  <c:v>1.1921257359125315</c:v>
                </c:pt>
                <c:pt idx="3">
                  <c:v>1.1823581979708773</c:v>
                </c:pt>
                <c:pt idx="4">
                  <c:v>1.1846614802354918</c:v>
                </c:pt>
                <c:pt idx="5">
                  <c:v>1.1935975609756098</c:v>
                </c:pt>
                <c:pt idx="6">
                  <c:v>1.1836101766190075</c:v>
                </c:pt>
                <c:pt idx="7">
                  <c:v>1.2180929352396972</c:v>
                </c:pt>
                <c:pt idx="8">
                  <c:v>1.2179992640487831</c:v>
                </c:pt>
                <c:pt idx="9">
                  <c:v>1.1904436501261564</c:v>
                </c:pt>
                <c:pt idx="10">
                  <c:v>1.188446173254836</c:v>
                </c:pt>
                <c:pt idx="11">
                  <c:v>1.1648005046522631</c:v>
                </c:pt>
                <c:pt idx="12">
                  <c:v>1.1079163162321277</c:v>
                </c:pt>
                <c:pt idx="13">
                  <c:v>1.1968669505335647</c:v>
                </c:pt>
                <c:pt idx="14">
                  <c:v>1.1909793407979814</c:v>
                </c:pt>
                <c:pt idx="15">
                  <c:v>1.1919680403700588</c:v>
                </c:pt>
                <c:pt idx="16">
                  <c:v>1.1837249645166377</c:v>
                </c:pt>
                <c:pt idx="17">
                  <c:v>1.1649495374264087</c:v>
                </c:pt>
                <c:pt idx="18">
                  <c:v>1.1223256058455553</c:v>
                </c:pt>
                <c:pt idx="19">
                  <c:v>1.1429848078641645</c:v>
                </c:pt>
                <c:pt idx="20">
                  <c:v>1.1684188393608073</c:v>
                </c:pt>
                <c:pt idx="21">
                  <c:v>1.1912421805183198</c:v>
                </c:pt>
                <c:pt idx="22">
                  <c:v>1.1883410428931875</c:v>
                </c:pt>
                <c:pt idx="23">
                  <c:v>1.1432476475845028</c:v>
                </c:pt>
                <c:pt idx="24">
                  <c:v>1.0979814970563497</c:v>
                </c:pt>
                <c:pt idx="25">
                  <c:v>1.1145395290159796</c:v>
                </c:pt>
                <c:pt idx="26">
                  <c:v>1.110024706933712</c:v>
                </c:pt>
                <c:pt idx="27">
                  <c:v>1.0946698906644239</c:v>
                </c:pt>
                <c:pt idx="28">
                  <c:v>1.1825063078216989</c:v>
                </c:pt>
                <c:pt idx="29">
                  <c:v>1.178100194501393</c:v>
                </c:pt>
                <c:pt idx="30">
                  <c:v>1.159964253798034</c:v>
                </c:pt>
                <c:pt idx="31">
                  <c:v>1.1541817799505862</c:v>
                </c:pt>
                <c:pt idx="32">
                  <c:v>1.1632148864592093</c:v>
                </c:pt>
                <c:pt idx="33">
                  <c:v>1.223045786679283</c:v>
                </c:pt>
                <c:pt idx="34">
                  <c:v>1.1550147182506307</c:v>
                </c:pt>
                <c:pt idx="35">
                  <c:v>1.123107653490328</c:v>
                </c:pt>
                <c:pt idx="36">
                  <c:v>1.102239276703112</c:v>
                </c:pt>
                <c:pt idx="37">
                  <c:v>1.0936760763286546</c:v>
                </c:pt>
                <c:pt idx="38">
                  <c:v>1.1618041318404038</c:v>
                </c:pt>
                <c:pt idx="39">
                  <c:v>1.15775640014719</c:v>
                </c:pt>
                <c:pt idx="40">
                  <c:v>1.0875781948168008</c:v>
                </c:pt>
                <c:pt idx="41">
                  <c:v>1.0513588813541501</c:v>
                </c:pt>
                <c:pt idx="42">
                  <c:v>1.0159280870525154</c:v>
                </c:pt>
                <c:pt idx="43">
                  <c:v>1.0192924354728485</c:v>
                </c:pt>
                <c:pt idx="44">
                  <c:v>1.0681770395290158</c:v>
                </c:pt>
                <c:pt idx="45">
                  <c:v>1.1023497870998265</c:v>
                </c:pt>
                <c:pt idx="46">
                  <c:v>1.035271236333053</c:v>
                </c:pt>
                <c:pt idx="47">
                  <c:v>0.9402828155390842</c:v>
                </c:pt>
                <c:pt idx="48">
                  <c:v>0.9551116951379762</c:v>
                </c:pt>
                <c:pt idx="49">
                  <c:v>0.9407064760302776</c:v>
                </c:pt>
                <c:pt idx="50">
                  <c:v>1.0796404352625768</c:v>
                </c:pt>
                <c:pt idx="51">
                  <c:v>1.1027123633305298</c:v>
                </c:pt>
              </c:numCache>
            </c:numRef>
          </c:xVal>
          <c:yVal>
            <c:numRef>
              <c:f>Sheet1!$B$48:$B$99</c:f>
              <c:numCache>
                <c:formatCode>General</c:formatCode>
                <c:ptCount val="52"/>
                <c:pt idx="0">
                  <c:v>0.4838415200083405</c:v>
                </c:pt>
                <c:pt idx="1">
                  <c:v>0.4780848150951512</c:v>
                </c:pt>
                <c:pt idx="2">
                  <c:v>0.3914337555833407</c:v>
                </c:pt>
                <c:pt idx="3">
                  <c:v>0.43946695403389213</c:v>
                </c:pt>
                <c:pt idx="4">
                  <c:v>0.5242115334315331</c:v>
                </c:pt>
                <c:pt idx="5">
                  <c:v>0.4260737316941453</c:v>
                </c:pt>
                <c:pt idx="6">
                  <c:v>0.4762380599022619</c:v>
                </c:pt>
                <c:pt idx="7">
                  <c:v>0.4406350094847156</c:v>
                </c:pt>
                <c:pt idx="8">
                  <c:v>0.45666989943005937</c:v>
                </c:pt>
                <c:pt idx="9">
                  <c:v>0.44676877636828316</c:v>
                </c:pt>
                <c:pt idx="10">
                  <c:v>0.45102813345288517</c:v>
                </c:pt>
                <c:pt idx="11">
                  <c:v>0.4905383010797328</c:v>
                </c:pt>
                <c:pt idx="12">
                  <c:v>0.4750652422763609</c:v>
                </c:pt>
                <c:pt idx="13">
                  <c:v>0.4643707747833575</c:v>
                </c:pt>
                <c:pt idx="14">
                  <c:v>0.4545615540752244</c:v>
                </c:pt>
                <c:pt idx="15">
                  <c:v>0.445603860717614</c:v>
                </c:pt>
                <c:pt idx="16">
                  <c:v>0.464927924864799</c:v>
                </c:pt>
                <c:pt idx="17">
                  <c:v>0.4715629791129723</c:v>
                </c:pt>
                <c:pt idx="18">
                  <c:v>0.47914688875463884</c:v>
                </c:pt>
                <c:pt idx="19">
                  <c:v>0.46075864160545604</c:v>
                </c:pt>
                <c:pt idx="20">
                  <c:v>0.4589391525393387</c:v>
                </c:pt>
                <c:pt idx="21">
                  <c:v>0.44422439540958863</c:v>
                </c:pt>
                <c:pt idx="22">
                  <c:v>0.43683680165819755</c:v>
                </c:pt>
                <c:pt idx="23">
                  <c:v>0.4686634021917118</c:v>
                </c:pt>
                <c:pt idx="24">
                  <c:v>0.4585566892492741</c:v>
                </c:pt>
                <c:pt idx="25">
                  <c:v>0.4631691792704083</c:v>
                </c:pt>
                <c:pt idx="26">
                  <c:v>0.42446283485269715</c:v>
                </c:pt>
                <c:pt idx="27">
                  <c:v>0.4579247650221135</c:v>
                </c:pt>
                <c:pt idx="28">
                  <c:v>0.4637300937453002</c:v>
                </c:pt>
                <c:pt idx="29">
                  <c:v>0.4750212680876755</c:v>
                </c:pt>
                <c:pt idx="30">
                  <c:v>0.4550510398881949</c:v>
                </c:pt>
                <c:pt idx="31">
                  <c:v>0.43625766498694674</c:v>
                </c:pt>
                <c:pt idx="32">
                  <c:v>0.43436608855377057</c:v>
                </c:pt>
                <c:pt idx="33">
                  <c:v>0.45230959684401456</c:v>
                </c:pt>
                <c:pt idx="34">
                  <c:v>0.4672594456546233</c:v>
                </c:pt>
                <c:pt idx="35">
                  <c:v>0.46769725579706384</c:v>
                </c:pt>
                <c:pt idx="36">
                  <c:v>0.3974510966212211</c:v>
                </c:pt>
                <c:pt idx="37">
                  <c:v>0.4739747811782733</c:v>
                </c:pt>
                <c:pt idx="38">
                  <c:v>0.38727476630156327</c:v>
                </c:pt>
                <c:pt idx="39">
                  <c:v>0.4766631627682157</c:v>
                </c:pt>
                <c:pt idx="40">
                  <c:v>0.45107440650781433</c:v>
                </c:pt>
                <c:pt idx="41">
                  <c:v>0.44247733909811504</c:v>
                </c:pt>
                <c:pt idx="42">
                  <c:v>0.4766463527004442</c:v>
                </c:pt>
                <c:pt idx="43">
                  <c:v>0.46858915467674295</c:v>
                </c:pt>
                <c:pt idx="44">
                  <c:v>0.44859181275802545</c:v>
                </c:pt>
                <c:pt idx="45">
                  <c:v>0.45164585453971984</c:v>
                </c:pt>
                <c:pt idx="46">
                  <c:v>0.4808682212216921</c:v>
                </c:pt>
                <c:pt idx="47">
                  <c:v>0.4539821208058181</c:v>
                </c:pt>
                <c:pt idx="48">
                  <c:v>0.45784663068229736</c:v>
                </c:pt>
                <c:pt idx="49">
                  <c:v>0.4589168072308329</c:v>
                </c:pt>
                <c:pt idx="50">
                  <c:v>0.47394550877825153</c:v>
                </c:pt>
                <c:pt idx="51">
                  <c:v>0.43729988995245117</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19396481841459154</c:v>
                </c:pt>
              </c:numCache>
            </c:numRef>
          </c:xVal>
          <c:yVal>
            <c:numRef>
              <c:f>Sheet1!$B$102:$B$103</c:f>
              <c:numCache>
                <c:formatCode>General</c:formatCode>
                <c:ptCount val="2"/>
                <c:pt idx="0">
                  <c:v>0.48659966585302744</c:v>
                </c:pt>
                <c:pt idx="1">
                  <c:v>0.48659966585302744</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19396481841459154</c:v>
                </c:pt>
                <c:pt idx="1">
                  <c:v>0.19396481841459154</c:v>
                </c:pt>
              </c:numCache>
            </c:numRef>
          </c:xVal>
          <c:yVal>
            <c:numRef>
              <c:f>Sheet1!$B$106:$B$107</c:f>
              <c:numCache>
                <c:formatCode>General</c:formatCode>
                <c:ptCount val="2"/>
                <c:pt idx="0">
                  <c:v>0.4865996658530274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0155323899544297</c:v>
                </c:pt>
              </c:numCache>
            </c:numRef>
          </c:xVal>
          <c:yVal>
            <c:numRef>
              <c:f>Sheet1!$B$110:$B$111</c:f>
              <c:numCache>
                <c:formatCode>General</c:formatCode>
                <c:ptCount val="2"/>
                <c:pt idx="0">
                  <c:v>0.4600042870646694</c:v>
                </c:pt>
                <c:pt idx="1">
                  <c:v>0.4600042870646694</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0155323899544297</c:v>
                </c:pt>
                <c:pt idx="1">
                  <c:v>1.0155323899544297</c:v>
                </c:pt>
              </c:numCache>
            </c:numRef>
          </c:xVal>
          <c:yVal>
            <c:numRef>
              <c:f>Sheet1!$B$114:$B$115</c:f>
              <c:numCache>
                <c:formatCode>General</c:formatCode>
                <c:ptCount val="2"/>
                <c:pt idx="0">
                  <c:v>0.460004287064669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0191169055007707</c:v>
                </c:pt>
              </c:numCache>
            </c:numRef>
          </c:xVal>
          <c:yVal>
            <c:numRef>
              <c:f>Sheet1!$B$118:$B$119</c:f>
              <c:numCache>
                <c:formatCode>General</c:formatCode>
                <c:ptCount val="2"/>
                <c:pt idx="0">
                  <c:v>0.4598882509015708</c:v>
                </c:pt>
                <c:pt idx="1">
                  <c:v>0.4598882509015708</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0191169055007707</c:v>
                </c:pt>
                <c:pt idx="1">
                  <c:v>1.0191169055007707</c:v>
                </c:pt>
              </c:numCache>
            </c:numRef>
          </c:xVal>
          <c:yVal>
            <c:numRef>
              <c:f>Sheet1!$B$122:$B$123</c:f>
              <c:numCache>
                <c:formatCode>General</c:formatCode>
                <c:ptCount val="2"/>
                <c:pt idx="0">
                  <c:v>0.459888250901570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162592651001419</c:v>
                </c:pt>
                <c:pt idx="1">
                  <c:v>1.167323765967513</c:v>
                </c:pt>
                <c:pt idx="2">
                  <c:v>1.1921257359125315</c:v>
                </c:pt>
                <c:pt idx="3">
                  <c:v>1.1823581979708773</c:v>
                </c:pt>
                <c:pt idx="4">
                  <c:v>1.1846614802354918</c:v>
                </c:pt>
                <c:pt idx="5">
                  <c:v>1.1935975609756098</c:v>
                </c:pt>
                <c:pt idx="6">
                  <c:v>1.1836101766190075</c:v>
                </c:pt>
                <c:pt idx="7">
                  <c:v>1.2180929352396972</c:v>
                </c:pt>
                <c:pt idx="8">
                  <c:v>1.2179992640487831</c:v>
                </c:pt>
                <c:pt idx="9">
                  <c:v>1.1904436501261564</c:v>
                </c:pt>
                <c:pt idx="10">
                  <c:v>1.188446173254836</c:v>
                </c:pt>
                <c:pt idx="11">
                  <c:v>1.1648005046522631</c:v>
                </c:pt>
                <c:pt idx="12">
                  <c:v>1.1079163162321277</c:v>
                </c:pt>
                <c:pt idx="13">
                  <c:v>1.1968669505335647</c:v>
                </c:pt>
                <c:pt idx="14">
                  <c:v>1.1909793407979814</c:v>
                </c:pt>
                <c:pt idx="15">
                  <c:v>1.1919680403700588</c:v>
                </c:pt>
                <c:pt idx="16">
                  <c:v>1.1837249645166377</c:v>
                </c:pt>
                <c:pt idx="17">
                  <c:v>1.1649495374264087</c:v>
                </c:pt>
                <c:pt idx="18">
                  <c:v>1.1223256058455553</c:v>
                </c:pt>
                <c:pt idx="19">
                  <c:v>1.1429848078641645</c:v>
                </c:pt>
                <c:pt idx="20">
                  <c:v>1.1684188393608073</c:v>
                </c:pt>
                <c:pt idx="21">
                  <c:v>1.1912421805183198</c:v>
                </c:pt>
                <c:pt idx="22">
                  <c:v>1.1883410428931875</c:v>
                </c:pt>
                <c:pt idx="23">
                  <c:v>1.1432476475845028</c:v>
                </c:pt>
                <c:pt idx="24">
                  <c:v>1.0979814970563497</c:v>
                </c:pt>
                <c:pt idx="25">
                  <c:v>1.1145395290159796</c:v>
                </c:pt>
                <c:pt idx="26">
                  <c:v>1.110024706933712</c:v>
                </c:pt>
                <c:pt idx="27">
                  <c:v>1.0946698906644239</c:v>
                </c:pt>
                <c:pt idx="28">
                  <c:v>1.1825063078216989</c:v>
                </c:pt>
                <c:pt idx="29">
                  <c:v>1.178100194501393</c:v>
                </c:pt>
                <c:pt idx="30">
                  <c:v>1.159964253798034</c:v>
                </c:pt>
                <c:pt idx="31">
                  <c:v>1.1541817799505862</c:v>
                </c:pt>
                <c:pt idx="32">
                  <c:v>1.1632148864592093</c:v>
                </c:pt>
                <c:pt idx="33">
                  <c:v>1.223045786679283</c:v>
                </c:pt>
                <c:pt idx="34">
                  <c:v>1.1550147182506307</c:v>
                </c:pt>
                <c:pt idx="35">
                  <c:v>1.123107653490328</c:v>
                </c:pt>
                <c:pt idx="36">
                  <c:v>1.102239276703112</c:v>
                </c:pt>
                <c:pt idx="37">
                  <c:v>1.0936760763286546</c:v>
                </c:pt>
                <c:pt idx="38">
                  <c:v>1.1618041318404038</c:v>
                </c:pt>
                <c:pt idx="39">
                  <c:v>1.15775640014719</c:v>
                </c:pt>
                <c:pt idx="40">
                  <c:v>1.0875781948168008</c:v>
                </c:pt>
                <c:pt idx="41">
                  <c:v>1.0513588813541501</c:v>
                </c:pt>
                <c:pt idx="42">
                  <c:v>1.0159280870525154</c:v>
                </c:pt>
                <c:pt idx="43">
                  <c:v>1.0192924354728485</c:v>
                </c:pt>
                <c:pt idx="44">
                  <c:v>1.0681770395290158</c:v>
                </c:pt>
                <c:pt idx="45">
                  <c:v>1.1023497870998265</c:v>
                </c:pt>
                <c:pt idx="46">
                  <c:v>1.035271236333053</c:v>
                </c:pt>
                <c:pt idx="47">
                  <c:v>0.9402828155390842</c:v>
                </c:pt>
                <c:pt idx="48">
                  <c:v>0.9551116951379762</c:v>
                </c:pt>
                <c:pt idx="49">
                  <c:v>0.9407064760302776</c:v>
                </c:pt>
                <c:pt idx="50">
                  <c:v>1.0796404352625768</c:v>
                </c:pt>
                <c:pt idx="51">
                  <c:v>1.1027123633305298</c:v>
                </c:pt>
                <c:pt idx="52">
                  <c:v>1.0155323899544297</c:v>
                </c:pt>
                <c:pt idx="53">
                  <c:v>0.19396481841459154</c:v>
                </c:pt>
                <c:pt idx="54">
                  <c:v>1.0191169055007707</c:v>
                </c:pt>
              </c:numCache>
            </c:numRef>
          </c:xVal>
          <c:yVal>
            <c:numRef>
              <c:f>Sheet1!$B$126:$B$180</c:f>
              <c:numCache>
                <c:formatCode>General</c:formatCode>
                <c:ptCount val="55"/>
                <c:pt idx="0">
                  <c:v>0.4552437250820086</c:v>
                </c:pt>
                <c:pt idx="1">
                  <c:v>0.4550905717700069</c:v>
                </c:pt>
                <c:pt idx="2">
                  <c:v>0.4542876946747621</c:v>
                </c:pt>
                <c:pt idx="3">
                  <c:v>0.4546038845785348</c:v>
                </c:pt>
                <c:pt idx="4">
                  <c:v>0.4545293238650817</c:v>
                </c:pt>
                <c:pt idx="5">
                  <c:v>0.4542400494823047</c:v>
                </c:pt>
                <c:pt idx="6">
                  <c:v>0.4545633561454084</c:v>
                </c:pt>
                <c:pt idx="7">
                  <c:v>0.45344709735069244</c:v>
                </c:pt>
                <c:pt idx="8">
                  <c:v>0.45345012962812187</c:v>
                </c:pt>
                <c:pt idx="9">
                  <c:v>0.4543421463232848</c:v>
                </c:pt>
                <c:pt idx="10">
                  <c:v>0.4544068076559056</c:v>
                </c:pt>
                <c:pt idx="11">
                  <c:v>0.4551722535364078</c:v>
                </c:pt>
                <c:pt idx="12">
                  <c:v>0.4570136803289312</c:v>
                </c:pt>
                <c:pt idx="13">
                  <c:v>0.4541342144217295</c:v>
                </c:pt>
                <c:pt idx="14">
                  <c:v>0.4543248052099983</c:v>
                </c:pt>
                <c:pt idx="15">
                  <c:v>0.45429279951681106</c:v>
                </c:pt>
                <c:pt idx="16">
                  <c:v>0.45455964028840096</c:v>
                </c:pt>
                <c:pt idx="17">
                  <c:v>0.4551674291212074</c:v>
                </c:pt>
                <c:pt idx="18">
                  <c:v>0.45654722993748986</c:v>
                </c:pt>
                <c:pt idx="19">
                  <c:v>0.45587846047508235</c:v>
                </c:pt>
                <c:pt idx="20">
                  <c:v>0.4550551225961293</c:v>
                </c:pt>
                <c:pt idx="21">
                  <c:v>0.4543162966926649</c:v>
                </c:pt>
                <c:pt idx="22">
                  <c:v>0.45441021088393824</c:v>
                </c:pt>
                <c:pt idx="23">
                  <c:v>0.45586995195774893</c:v>
                </c:pt>
                <c:pt idx="24">
                  <c:v>0.45733528537801854</c:v>
                </c:pt>
                <c:pt idx="25">
                  <c:v>0.4567992769628729</c:v>
                </c:pt>
                <c:pt idx="26">
                  <c:v>0.4569454285486943</c:v>
                </c:pt>
                <c:pt idx="27">
                  <c:v>0.4574424870610477</c:v>
                </c:pt>
                <c:pt idx="28">
                  <c:v>0.4545990900397514</c:v>
                </c:pt>
                <c:pt idx="29">
                  <c:v>0.4547417225593363</c:v>
                </c:pt>
                <c:pt idx="30">
                  <c:v>0.4553288102553429</c:v>
                </c:pt>
                <c:pt idx="31">
                  <c:v>0.4555159976366783</c:v>
                </c:pt>
                <c:pt idx="32">
                  <c:v>0.4552235823837465</c:v>
                </c:pt>
                <c:pt idx="33">
                  <c:v>0.45328676609532004</c:v>
                </c:pt>
                <c:pt idx="34">
                  <c:v>0.4554890341702948</c:v>
                </c:pt>
                <c:pt idx="35">
                  <c:v>0.4565219138782103</c:v>
                </c:pt>
                <c:pt idx="36">
                  <c:v>0.4571974546426954</c:v>
                </c:pt>
                <c:pt idx="37">
                  <c:v>0.45747465832683354</c:v>
                </c:pt>
                <c:pt idx="38">
                  <c:v>0.4552692506340089</c:v>
                </c:pt>
                <c:pt idx="39">
                  <c:v>0.4554002818009437</c:v>
                </c:pt>
                <c:pt idx="40">
                  <c:v>0.4576720559289691</c:v>
                </c:pt>
                <c:pt idx="41">
                  <c:v>0.45884452961751554</c:v>
                </c:pt>
                <c:pt idx="42">
                  <c:v>0.45999147775406174</c:v>
                </c:pt>
                <c:pt idx="43">
                  <c:v>0.45988256873219385</c:v>
                </c:pt>
                <c:pt idx="44">
                  <c:v>0.45830010052528064</c:v>
                </c:pt>
                <c:pt idx="45">
                  <c:v>0.4571938772548304</c:v>
                </c:pt>
                <c:pt idx="46">
                  <c:v>0.4593653108995065</c:v>
                </c:pt>
                <c:pt idx="47">
                  <c:v>0.46244022904262244</c:v>
                </c:pt>
                <c:pt idx="48">
                  <c:v>0.4619601958918491</c:v>
                </c:pt>
                <c:pt idx="49">
                  <c:v>0.4624265145148937</c:v>
                </c:pt>
                <c:pt idx="50">
                  <c:v>0.45792901315243867</c:v>
                </c:pt>
                <c:pt idx="51">
                  <c:v>0.4571821401165484</c:v>
                </c:pt>
                <c:pt idx="52">
                  <c:v>0.4600042870646694</c:v>
                </c:pt>
                <c:pt idx="53">
                  <c:v>0.48659966585302744</c:v>
                </c:pt>
                <c:pt idx="54">
                  <c:v>0.459888250901570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25743189988593"/>
          <c:min val="0.30981981304125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0667</c:v>
                </c:pt>
                <c:pt idx="1">
                  <c:v>2.0667</c:v>
                </c:pt>
                <c:pt idx="2">
                  <c:v>1.9451</c:v>
                </c:pt>
                <c:pt idx="3">
                  <c:v>1.8594</c:v>
                </c:pt>
                <c:pt idx="4">
                  <c:v>1.8594</c:v>
                </c:pt>
                <c:pt idx="5">
                  <c:v>1.8594</c:v>
                </c:pt>
                <c:pt idx="6">
                  <c:v>1.8955</c:v>
                </c:pt>
                <c:pt idx="7">
                  <c:v>2.0667</c:v>
                </c:pt>
                <c:pt idx="8">
                  <c:v>2.0667</c:v>
                </c:pt>
                <c:pt idx="9">
                  <c:v>2.0667</c:v>
                </c:pt>
                <c:pt idx="10">
                  <c:v>2.0667</c:v>
                </c:pt>
                <c:pt idx="11">
                  <c:v>2.0658</c:v>
                </c:pt>
                <c:pt idx="12">
                  <c:v>2.0667</c:v>
                </c:pt>
                <c:pt idx="13">
                  <c:v>1.91</c:v>
                </c:pt>
                <c:pt idx="14">
                  <c:v>1.8604</c:v>
                </c:pt>
                <c:pt idx="15">
                  <c:v>1.8604</c:v>
                </c:pt>
                <c:pt idx="16">
                  <c:v>1.8604</c:v>
                </c:pt>
                <c:pt idx="17">
                  <c:v>2.0225</c:v>
                </c:pt>
                <c:pt idx="18">
                  <c:v>2.0667</c:v>
                </c:pt>
                <c:pt idx="19">
                  <c:v>1.9336</c:v>
                </c:pt>
                <c:pt idx="20">
                  <c:v>1.8604</c:v>
                </c:pt>
                <c:pt idx="21">
                  <c:v>1.8625</c:v>
                </c:pt>
                <c:pt idx="22">
                  <c:v>1.9952</c:v>
                </c:pt>
                <c:pt idx="23">
                  <c:v>2.0667</c:v>
                </c:pt>
                <c:pt idx="24">
                  <c:v>1.9468</c:v>
                </c:pt>
                <c:pt idx="25">
                  <c:v>1.8604</c:v>
                </c:pt>
                <c:pt idx="26">
                  <c:v>2.1441</c:v>
                </c:pt>
                <c:pt idx="27">
                  <c:v>2.1698</c:v>
                </c:pt>
                <c:pt idx="28">
                  <c:v>2.0777</c:v>
                </c:pt>
                <c:pt idx="29">
                  <c:v>2.1365</c:v>
                </c:pt>
                <c:pt idx="30">
                  <c:v>2.0881</c:v>
                </c:pt>
                <c:pt idx="31">
                  <c:v>2.0754</c:v>
                </c:pt>
                <c:pt idx="32">
                  <c:v>1.9835</c:v>
                </c:pt>
                <c:pt idx="33">
                  <c:v>2.0024</c:v>
                </c:pt>
                <c:pt idx="34">
                  <c:v>2.1118</c:v>
                </c:pt>
                <c:pt idx="35">
                  <c:v>2.2054</c:v>
                </c:pt>
                <c:pt idx="36">
                  <c:v>2.1909</c:v>
                </c:pt>
                <c:pt idx="37">
                  <c:v>2.1231</c:v>
                </c:pt>
                <c:pt idx="38">
                  <c:v>2.0464</c:v>
                </c:pt>
                <c:pt idx="39">
                  <c:v>1.965</c:v>
                </c:pt>
                <c:pt idx="40">
                  <c:v>1.9914</c:v>
                </c:pt>
                <c:pt idx="41">
                  <c:v>2.2571</c:v>
                </c:pt>
                <c:pt idx="42">
                  <c:v>2.2294</c:v>
                </c:pt>
                <c:pt idx="43">
                  <c:v>2.2091</c:v>
                </c:pt>
              </c:numCache>
            </c:numRef>
          </c:xVal>
          <c:yVal>
            <c:numRef>
              <c:f>Sheet1!$B$2:$B$45</c:f>
              <c:numCache>
                <c:formatCode>General</c:formatCode>
                <c:ptCount val="44"/>
                <c:pt idx="0">
                  <c:v>0.40391533317545697</c:v>
                </c:pt>
                <c:pt idx="1">
                  <c:v>0.44427045339097954</c:v>
                </c:pt>
                <c:pt idx="2">
                  <c:v>0.4525398498001238</c:v>
                </c:pt>
                <c:pt idx="3">
                  <c:v>0.4935385063618206</c:v>
                </c:pt>
                <c:pt idx="4">
                  <c:v>0.4588489099616782</c:v>
                </c:pt>
                <c:pt idx="5">
                  <c:v>0.46717134194092486</c:v>
                </c:pt>
                <c:pt idx="6">
                  <c:v>0.49704038373504766</c:v>
                </c:pt>
                <c:pt idx="7">
                  <c:v>0.4211174393905011</c:v>
                </c:pt>
                <c:pt idx="8">
                  <c:v>0.45147744840575993</c:v>
                </c:pt>
                <c:pt idx="9">
                  <c:v>0.42784262193707967</c:v>
                </c:pt>
                <c:pt idx="10">
                  <c:v>0.44327130560797523</c:v>
                </c:pt>
                <c:pt idx="11">
                  <c:v>0.44538206626100907</c:v>
                </c:pt>
                <c:pt idx="12">
                  <c:v>0.4519026197195467</c:v>
                </c:pt>
                <c:pt idx="13">
                  <c:v>0.4873145766051782</c:v>
                </c:pt>
                <c:pt idx="14">
                  <c:v>0.4685100047019487</c:v>
                </c:pt>
                <c:pt idx="15">
                  <c:v>0.44467066626851626</c:v>
                </c:pt>
                <c:pt idx="16">
                  <c:v>0.4612546125461255</c:v>
                </c:pt>
                <c:pt idx="17">
                  <c:v>0.47695088501354593</c:v>
                </c:pt>
                <c:pt idx="18">
                  <c:v>0.45192610281186946</c:v>
                </c:pt>
                <c:pt idx="19">
                  <c:v>0.5004256768261536</c:v>
                </c:pt>
                <c:pt idx="20">
                  <c:v>0.43620381122274393</c:v>
                </c:pt>
                <c:pt idx="21">
                  <c:v>0.4676179733032525</c:v>
                </c:pt>
                <c:pt idx="22">
                  <c:v>0.44983947293614035</c:v>
                </c:pt>
                <c:pt idx="23">
                  <c:v>0.4357310987256297</c:v>
                </c:pt>
                <c:pt idx="24">
                  <c:v>0.46230915365714315</c:v>
                </c:pt>
                <c:pt idx="25">
                  <c:v>0.4633220799139686</c:v>
                </c:pt>
                <c:pt idx="26">
                  <c:v>0.5194470981609745</c:v>
                </c:pt>
                <c:pt idx="27">
                  <c:v>0.5112137349736692</c:v>
                </c:pt>
                <c:pt idx="28">
                  <c:v>0.47697519381474357</c:v>
                </c:pt>
                <c:pt idx="29">
                  <c:v>0.4567692887454328</c:v>
                </c:pt>
                <c:pt idx="30">
                  <c:v>0.47349336000853215</c:v>
                </c:pt>
                <c:pt idx="31">
                  <c:v>0.4759545497229787</c:v>
                </c:pt>
                <c:pt idx="32">
                  <c:v>0.5069400159607613</c:v>
                </c:pt>
                <c:pt idx="33">
                  <c:v>0.49635369932294643</c:v>
                </c:pt>
                <c:pt idx="34">
                  <c:v>0.48928737539860734</c:v>
                </c:pt>
                <c:pt idx="35">
                  <c:v>0.461839777166582</c:v>
                </c:pt>
                <c:pt idx="36">
                  <c:v>0.443313373253493</c:v>
                </c:pt>
                <c:pt idx="37">
                  <c:v>0.5271251022025236</c:v>
                </c:pt>
                <c:pt idx="38">
                  <c:v>0.5028901935749445</c:v>
                </c:pt>
                <c:pt idx="39">
                  <c:v>0.5271452658323827</c:v>
                </c:pt>
                <c:pt idx="40">
                  <c:v>0.49804379352659006</c:v>
                </c:pt>
                <c:pt idx="41">
                  <c:v>0.49005561550593507</c:v>
                </c:pt>
                <c:pt idx="42">
                  <c:v>0.44948453608247424</c:v>
                </c:pt>
                <c:pt idx="43">
                  <c:v>0.457362358539137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numCache>
            </c:numRef>
          </c:xVal>
          <c:yVal>
            <c:numRef>
              <c:f>Sheet1!$B$48:$B$99</c:f>
              <c:numCache>
                <c:formatCode>General</c:formatCode>
                <c:ptCount val="52"/>
                <c:pt idx="0">
                  <c:v>0.4838415200083405</c:v>
                </c:pt>
                <c:pt idx="1">
                  <c:v>0.4780848150951512</c:v>
                </c:pt>
                <c:pt idx="2">
                  <c:v>0.3914337555833407</c:v>
                </c:pt>
                <c:pt idx="3">
                  <c:v>0.43946695403389213</c:v>
                </c:pt>
                <c:pt idx="4">
                  <c:v>0.5242115334315331</c:v>
                </c:pt>
                <c:pt idx="5">
                  <c:v>0.4260737316941453</c:v>
                </c:pt>
                <c:pt idx="6">
                  <c:v>0.4762380599022619</c:v>
                </c:pt>
                <c:pt idx="7">
                  <c:v>0.4406350094847156</c:v>
                </c:pt>
                <c:pt idx="8">
                  <c:v>0.45666989943005937</c:v>
                </c:pt>
                <c:pt idx="9">
                  <c:v>0.44676877636828316</c:v>
                </c:pt>
                <c:pt idx="10">
                  <c:v>0.45102813345288517</c:v>
                </c:pt>
                <c:pt idx="11">
                  <c:v>0.4905383010797328</c:v>
                </c:pt>
                <c:pt idx="12">
                  <c:v>0.4750652422763609</c:v>
                </c:pt>
                <c:pt idx="13">
                  <c:v>0.4643707747833575</c:v>
                </c:pt>
                <c:pt idx="14">
                  <c:v>0.4545615540752244</c:v>
                </c:pt>
                <c:pt idx="15">
                  <c:v>0.445603860717614</c:v>
                </c:pt>
                <c:pt idx="16">
                  <c:v>0.464927924864799</c:v>
                </c:pt>
                <c:pt idx="17">
                  <c:v>0.4715629791129723</c:v>
                </c:pt>
                <c:pt idx="18">
                  <c:v>0.47914688875463884</c:v>
                </c:pt>
                <c:pt idx="19">
                  <c:v>0.46075864160545604</c:v>
                </c:pt>
                <c:pt idx="20">
                  <c:v>0.4589391525393387</c:v>
                </c:pt>
                <c:pt idx="21">
                  <c:v>0.44422439540958863</c:v>
                </c:pt>
                <c:pt idx="22">
                  <c:v>0.43683680165819755</c:v>
                </c:pt>
                <c:pt idx="23">
                  <c:v>0.4686634021917118</c:v>
                </c:pt>
                <c:pt idx="24">
                  <c:v>0.4585566892492741</c:v>
                </c:pt>
                <c:pt idx="25">
                  <c:v>0.4631691792704083</c:v>
                </c:pt>
                <c:pt idx="26">
                  <c:v>0.42446283485269715</c:v>
                </c:pt>
                <c:pt idx="27">
                  <c:v>0.4579247650221135</c:v>
                </c:pt>
                <c:pt idx="28">
                  <c:v>0.4637300937453002</c:v>
                </c:pt>
                <c:pt idx="29">
                  <c:v>0.4750212680876755</c:v>
                </c:pt>
                <c:pt idx="30">
                  <c:v>0.4550510398881949</c:v>
                </c:pt>
                <c:pt idx="31">
                  <c:v>0.43625766498694674</c:v>
                </c:pt>
                <c:pt idx="32">
                  <c:v>0.43436608855377057</c:v>
                </c:pt>
                <c:pt idx="33">
                  <c:v>0.45230959684401456</c:v>
                </c:pt>
                <c:pt idx="34">
                  <c:v>0.4672594456546233</c:v>
                </c:pt>
                <c:pt idx="35">
                  <c:v>0.46769725579706384</c:v>
                </c:pt>
                <c:pt idx="36">
                  <c:v>0.3974510966212211</c:v>
                </c:pt>
                <c:pt idx="37">
                  <c:v>0.4739747811782733</c:v>
                </c:pt>
                <c:pt idx="38">
                  <c:v>0.38727476630156327</c:v>
                </c:pt>
                <c:pt idx="39">
                  <c:v>0.4766631627682157</c:v>
                </c:pt>
                <c:pt idx="40">
                  <c:v>0.45107440650781433</c:v>
                </c:pt>
                <c:pt idx="41">
                  <c:v>0.44247733909811504</c:v>
                </c:pt>
                <c:pt idx="42">
                  <c:v>0.4766463527004442</c:v>
                </c:pt>
                <c:pt idx="43">
                  <c:v>0.46858915467674295</c:v>
                </c:pt>
                <c:pt idx="44">
                  <c:v>0.44859181275802545</c:v>
                </c:pt>
                <c:pt idx="45">
                  <c:v>0.45164585453971984</c:v>
                </c:pt>
                <c:pt idx="46">
                  <c:v>0.4808682212216921</c:v>
                </c:pt>
                <c:pt idx="47">
                  <c:v>0.4539821208058181</c:v>
                </c:pt>
                <c:pt idx="48">
                  <c:v>0.45784663068229736</c:v>
                </c:pt>
                <c:pt idx="49">
                  <c:v>0.4589168072308329</c:v>
                </c:pt>
                <c:pt idx="50">
                  <c:v>0.47394550877825153</c:v>
                </c:pt>
                <c:pt idx="51">
                  <c:v>0.43729988995245117</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0.3700307851800272</c:v>
                </c:pt>
              </c:numCache>
            </c:numRef>
          </c:xVal>
          <c:yVal>
            <c:numRef>
              <c:f>Sheet1!$B$102:$B$103</c:f>
              <c:numCache>
                <c:formatCode>General</c:formatCode>
                <c:ptCount val="2"/>
                <c:pt idx="0">
                  <c:v>0.48659966585302744</c:v>
                </c:pt>
                <c:pt idx="1">
                  <c:v>0.48659966585302744</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0.3700307851800272</c:v>
                </c:pt>
                <c:pt idx="1">
                  <c:v>0.3700307851800272</c:v>
                </c:pt>
              </c:numCache>
            </c:numRef>
          </c:xVal>
          <c:yVal>
            <c:numRef>
              <c:f>Sheet1!$B$106:$B$107</c:f>
              <c:numCache>
                <c:formatCode>General</c:formatCode>
                <c:ptCount val="2"/>
                <c:pt idx="0">
                  <c:v>0.4865996658530274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9320279179941853</c:v>
                </c:pt>
              </c:numCache>
            </c:numRef>
          </c:xVal>
          <c:yVal>
            <c:numRef>
              <c:f>Sheet1!$B$110:$B$111</c:f>
              <c:numCache>
                <c:formatCode>General</c:formatCode>
                <c:ptCount val="2"/>
                <c:pt idx="0">
                  <c:v>0.4600042870646694</c:v>
                </c:pt>
                <c:pt idx="1">
                  <c:v>0.4600042870646694</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9320279179941853</c:v>
                </c:pt>
                <c:pt idx="1">
                  <c:v>1.9320279179941853</c:v>
                </c:pt>
              </c:numCache>
            </c:numRef>
          </c:xVal>
          <c:yVal>
            <c:numRef>
              <c:f>Sheet1!$B$114:$B$115</c:f>
              <c:numCache>
                <c:formatCode>General</c:formatCode>
                <c:ptCount val="2"/>
                <c:pt idx="0">
                  <c:v>0.460004287064669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938842942345035</c:v>
                </c:pt>
              </c:numCache>
            </c:numRef>
          </c:xVal>
          <c:yVal>
            <c:numRef>
              <c:f>Sheet1!$B$118:$B$119</c:f>
              <c:numCache>
                <c:formatCode>General</c:formatCode>
                <c:ptCount val="2"/>
                <c:pt idx="0">
                  <c:v>0.4598882509015708</c:v>
                </c:pt>
                <c:pt idx="1">
                  <c:v>0.4598882509015708</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938842942345035</c:v>
                </c:pt>
                <c:pt idx="1">
                  <c:v>1.938842942345035</c:v>
                </c:pt>
              </c:numCache>
            </c:numRef>
          </c:xVal>
          <c:yVal>
            <c:numRef>
              <c:f>Sheet1!$B$122:$B$123</c:f>
              <c:numCache>
                <c:formatCode>General</c:formatCode>
                <c:ptCount val="2"/>
                <c:pt idx="0">
                  <c:v>0.459888250901570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pt idx="52">
                  <c:v>1.9320279179941853</c:v>
                </c:pt>
                <c:pt idx="53">
                  <c:v>0.3700307851800272</c:v>
                </c:pt>
                <c:pt idx="54">
                  <c:v>1.938842942345035</c:v>
                </c:pt>
              </c:numCache>
            </c:numRef>
          </c:xVal>
          <c:yVal>
            <c:numRef>
              <c:f>Sheet1!$B$126:$B$180</c:f>
              <c:numCache>
                <c:formatCode>General</c:formatCode>
                <c:ptCount val="55"/>
                <c:pt idx="0">
                  <c:v>0.45524414681639713</c:v>
                </c:pt>
                <c:pt idx="1">
                  <c:v>0.45509090811699954</c:v>
                </c:pt>
                <c:pt idx="2">
                  <c:v>0.45428555361905437</c:v>
                </c:pt>
                <c:pt idx="3">
                  <c:v>0.45460394958335826</c:v>
                </c:pt>
                <c:pt idx="4">
                  <c:v>0.4545273302336595</c:v>
                </c:pt>
                <c:pt idx="5">
                  <c:v>0.45423787935701954</c:v>
                </c:pt>
                <c:pt idx="6">
                  <c:v>0.45456138327797</c:v>
                </c:pt>
                <c:pt idx="7">
                  <c:v>0.4534444434245831</c:v>
                </c:pt>
                <c:pt idx="8">
                  <c:v>0.45344955138122967</c:v>
                </c:pt>
                <c:pt idx="9">
                  <c:v>0.4543400384899513</c:v>
                </c:pt>
                <c:pt idx="10">
                  <c:v>0.4544047392741414</c:v>
                </c:pt>
                <c:pt idx="11">
                  <c:v>0.4551726354233449</c:v>
                </c:pt>
                <c:pt idx="12">
                  <c:v>0.45701320246833166</c:v>
                </c:pt>
                <c:pt idx="13">
                  <c:v>0.4541340175718723</c:v>
                </c:pt>
                <c:pt idx="14">
                  <c:v>0.45432471462001156</c:v>
                </c:pt>
                <c:pt idx="15">
                  <c:v>0.45429066157570097</c:v>
                </c:pt>
                <c:pt idx="16">
                  <c:v>0.4545596806257545</c:v>
                </c:pt>
                <c:pt idx="17">
                  <c:v>0.4551658248144828</c:v>
                </c:pt>
                <c:pt idx="18">
                  <c:v>0.4565483784134923</c:v>
                </c:pt>
                <c:pt idx="19">
                  <c:v>0.4558792360927894</c:v>
                </c:pt>
                <c:pt idx="20">
                  <c:v>0.4550534497682579</c:v>
                </c:pt>
                <c:pt idx="21">
                  <c:v>0.4543162013589339</c:v>
                </c:pt>
                <c:pt idx="22">
                  <c:v>0.4544081445785724</c:v>
                </c:pt>
                <c:pt idx="23">
                  <c:v>0.45587072283171176</c:v>
                </c:pt>
                <c:pt idx="24">
                  <c:v>0.4573350037370666</c:v>
                </c:pt>
                <c:pt idx="25">
                  <c:v>0.45679866828917504</c:v>
                </c:pt>
                <c:pt idx="26">
                  <c:v>0.45694679903192603</c:v>
                </c:pt>
                <c:pt idx="27">
                  <c:v>0.45744227082664496</c:v>
                </c:pt>
                <c:pt idx="28">
                  <c:v>0.45459713897449616</c:v>
                </c:pt>
                <c:pt idx="29">
                  <c:v>0.4547418644128161</c:v>
                </c:pt>
                <c:pt idx="30">
                  <c:v>0.4553292794271736</c:v>
                </c:pt>
                <c:pt idx="31">
                  <c:v>0.45551657117088173</c:v>
                </c:pt>
                <c:pt idx="32">
                  <c:v>0.45522201233759524</c:v>
                </c:pt>
                <c:pt idx="33">
                  <c:v>0.4532860967685389</c:v>
                </c:pt>
                <c:pt idx="34">
                  <c:v>0.4554876260832178</c:v>
                </c:pt>
                <c:pt idx="35">
                  <c:v>0.4565211359780438</c:v>
                </c:pt>
                <c:pt idx="36">
                  <c:v>0.4571970889076088</c:v>
                </c:pt>
                <c:pt idx="37">
                  <c:v>0.4574763238709555</c:v>
                </c:pt>
                <c:pt idx="38">
                  <c:v>0.4552696865996301</c:v>
                </c:pt>
                <c:pt idx="39">
                  <c:v>0.4554007908202258</c:v>
                </c:pt>
                <c:pt idx="40">
                  <c:v>0.4576738315279569</c:v>
                </c:pt>
                <c:pt idx="41">
                  <c:v>0.45884695890445626</c:v>
                </c:pt>
                <c:pt idx="42">
                  <c:v>0.45999454649772276</c:v>
                </c:pt>
                <c:pt idx="43">
                  <c:v>0.4598855767559289</c:v>
                </c:pt>
                <c:pt idx="44">
                  <c:v>0.4583004075432715</c:v>
                </c:pt>
                <c:pt idx="45">
                  <c:v>0.45719538625539324</c:v>
                </c:pt>
                <c:pt idx="46">
                  <c:v>0.4593662678301926</c:v>
                </c:pt>
                <c:pt idx="47">
                  <c:v>0.46244466303586884</c:v>
                </c:pt>
                <c:pt idx="48">
                  <c:v>0.4619611098066586</c:v>
                </c:pt>
                <c:pt idx="49">
                  <c:v>0.46242933916592904</c:v>
                </c:pt>
                <c:pt idx="50">
                  <c:v>0.45793093201250173</c:v>
                </c:pt>
                <c:pt idx="51">
                  <c:v>0.457181765037669</c:v>
                </c:pt>
                <c:pt idx="52">
                  <c:v>0.4600042870646694</c:v>
                </c:pt>
                <c:pt idx="53">
                  <c:v>0.48659966585302744</c:v>
                </c:pt>
                <c:pt idx="54">
                  <c:v>0.459888250901570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6325743189988593"/>
          <c:min val="0.30981981304125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02855656020296</c:v>
                </c:pt>
                <c:pt idx="1">
                  <c:v>1.0681019903733575</c:v>
                </c:pt>
                <c:pt idx="2">
                  <c:v>1.0723181478229766</c:v>
                </c:pt>
                <c:pt idx="3">
                  <c:v>1.0699837398373984</c:v>
                </c:pt>
                <c:pt idx="4">
                  <c:v>1.0703831392701488</c:v>
                </c:pt>
                <c:pt idx="5">
                  <c:v>1.0691752309093274</c:v>
                </c:pt>
                <c:pt idx="6">
                  <c:v>1.0714425078043703</c:v>
                </c:pt>
                <c:pt idx="7">
                  <c:v>1.0702484714452971</c:v>
                </c:pt>
                <c:pt idx="8">
                  <c:v>1.0698536585365854</c:v>
                </c:pt>
                <c:pt idx="9">
                  <c:v>1.0696562713407693</c:v>
                </c:pt>
                <c:pt idx="10">
                  <c:v>1.0703437510162932</c:v>
                </c:pt>
                <c:pt idx="11">
                  <c:v>1.069493675002439</c:v>
                </c:pt>
                <c:pt idx="12">
                  <c:v>1.0698165972944849</c:v>
                </c:pt>
                <c:pt idx="13">
                  <c:v>1.07060162601626</c:v>
                </c:pt>
                <c:pt idx="14">
                  <c:v>1.0706712631715882</c:v>
                </c:pt>
                <c:pt idx="15">
                  <c:v>1.0700790218204286</c:v>
                </c:pt>
                <c:pt idx="16">
                  <c:v>1.0692357723577235</c:v>
                </c:pt>
                <c:pt idx="17">
                  <c:v>1.0694611557347729</c:v>
                </c:pt>
                <c:pt idx="18">
                  <c:v>1.0710615324573955</c:v>
                </c:pt>
                <c:pt idx="19">
                  <c:v>1.0631565254154607</c:v>
                </c:pt>
                <c:pt idx="20">
                  <c:v>1.0679696900712219</c:v>
                </c:pt>
                <c:pt idx="21">
                  <c:v>1.0700487804878047</c:v>
                </c:pt>
                <c:pt idx="22">
                  <c:v>1.0696260162601625</c:v>
                </c:pt>
                <c:pt idx="23">
                  <c:v>1.0692660401287764</c:v>
                </c:pt>
                <c:pt idx="24">
                  <c:v>1.0718722560083256</c:v>
                </c:pt>
                <c:pt idx="25">
                  <c:v>1.0688455284552845</c:v>
                </c:pt>
                <c:pt idx="26">
                  <c:v>1.069172981235162</c:v>
                </c:pt>
                <c:pt idx="27">
                  <c:v>1.0713844352661874</c:v>
                </c:pt>
                <c:pt idx="28">
                  <c:v>1.0687457318461189</c:v>
                </c:pt>
                <c:pt idx="29">
                  <c:v>1.069916425482098</c:v>
                </c:pt>
                <c:pt idx="30">
                  <c:v>1.0700487804878047</c:v>
                </c:pt>
                <c:pt idx="31">
                  <c:v>1.0300143080124868</c:v>
                </c:pt>
                <c:pt idx="32">
                  <c:v>0.8684467282424873</c:v>
                </c:pt>
                <c:pt idx="33">
                  <c:v>0.8664715447154472</c:v>
                </c:pt>
                <c:pt idx="34">
                  <c:v>0.9241576687914661</c:v>
                </c:pt>
                <c:pt idx="35">
                  <c:v>1.0690473867369175</c:v>
                </c:pt>
                <c:pt idx="36">
                  <c:v>1.069040650406504</c:v>
                </c:pt>
                <c:pt idx="37">
                  <c:v>1.070829268292683</c:v>
                </c:pt>
                <c:pt idx="38">
                  <c:v>1.0689408474521154</c:v>
                </c:pt>
                <c:pt idx="39">
                  <c:v>1.0692032520325203</c:v>
                </c:pt>
                <c:pt idx="40">
                  <c:v>1.070801352933524</c:v>
                </c:pt>
                <c:pt idx="41">
                  <c:v>1.0711544715447154</c:v>
                </c:pt>
                <c:pt idx="42">
                  <c:v>1.069337843111747</c:v>
                </c:pt>
                <c:pt idx="43">
                  <c:v>1.0697538291437678</c:v>
                </c:pt>
              </c:numCache>
            </c:numRef>
          </c:xVal>
          <c:yVal>
            <c:numRef>
              <c:f>Sheet1!$B$2:$B$45</c:f>
              <c:numCache>
                <c:formatCode>General</c:formatCode>
                <c:ptCount val="44"/>
                <c:pt idx="0">
                  <c:v>0.8585182949111072</c:v>
                </c:pt>
                <c:pt idx="1">
                  <c:v>0.8728525188812349</c:v>
                </c:pt>
                <c:pt idx="2">
                  <c:v>0.8443898790624162</c:v>
                </c:pt>
                <c:pt idx="3">
                  <c:v>0.8625833539145468</c:v>
                </c:pt>
                <c:pt idx="4">
                  <c:v>0.8687103035593279</c:v>
                </c:pt>
                <c:pt idx="5">
                  <c:v>0.8509185021144893</c:v>
                </c:pt>
                <c:pt idx="6">
                  <c:v>0.8595115511551155</c:v>
                </c:pt>
                <c:pt idx="7">
                  <c:v>0.8568714168714169</c:v>
                </c:pt>
                <c:pt idx="8">
                  <c:v>0.8445983536758445</c:v>
                </c:pt>
                <c:pt idx="9">
                  <c:v>0.8529200136829564</c:v>
                </c:pt>
                <c:pt idx="10">
                  <c:v>0.8521173619916887</c:v>
                </c:pt>
                <c:pt idx="11">
                  <c:v>0.8591908756762038</c:v>
                </c:pt>
                <c:pt idx="12">
                  <c:v>0.8639939788082274</c:v>
                </c:pt>
                <c:pt idx="13">
                  <c:v>0.8575041206620154</c:v>
                </c:pt>
                <c:pt idx="14">
                  <c:v>0.8662861006722755</c:v>
                </c:pt>
                <c:pt idx="15">
                  <c:v>0.8709266611731216</c:v>
                </c:pt>
                <c:pt idx="16">
                  <c:v>0.8610419668981178</c:v>
                </c:pt>
                <c:pt idx="17">
                  <c:v>0.8504662204679366</c:v>
                </c:pt>
                <c:pt idx="18">
                  <c:v>0.8663782132858233</c:v>
                </c:pt>
                <c:pt idx="19">
                  <c:v>0.8559394902137955</c:v>
                </c:pt>
                <c:pt idx="20">
                  <c:v>0.8879238438215785</c:v>
                </c:pt>
                <c:pt idx="21">
                  <c:v>0.8317105523099935</c:v>
                </c:pt>
                <c:pt idx="22">
                  <c:v>0.8452096686355829</c:v>
                </c:pt>
                <c:pt idx="23">
                  <c:v>0.8556743258063237</c:v>
                </c:pt>
                <c:pt idx="24">
                  <c:v>0.8277689454160042</c:v>
                </c:pt>
                <c:pt idx="25">
                  <c:v>0.8622986036519871</c:v>
                </c:pt>
                <c:pt idx="26">
                  <c:v>0.8409618768328446</c:v>
                </c:pt>
                <c:pt idx="27">
                  <c:v>0.8484699788727595</c:v>
                </c:pt>
                <c:pt idx="28">
                  <c:v>0.8314230176285273</c:v>
                </c:pt>
                <c:pt idx="29">
                  <c:v>0.8473000683526999</c:v>
                </c:pt>
                <c:pt idx="30">
                  <c:v>0.8569394680018034</c:v>
                </c:pt>
                <c:pt idx="31">
                  <c:v>0.8840330826474013</c:v>
                </c:pt>
                <c:pt idx="32">
                  <c:v>0.8805658894419701</c:v>
                </c:pt>
                <c:pt idx="33">
                  <c:v>0.8833164304754041</c:v>
                </c:pt>
                <c:pt idx="34">
                  <c:v>0.8811522390267352</c:v>
                </c:pt>
                <c:pt idx="35">
                  <c:v>0.8485189087928814</c:v>
                </c:pt>
                <c:pt idx="36">
                  <c:v>0.8763380623911664</c:v>
                </c:pt>
                <c:pt idx="37">
                  <c:v>0.8470611052523122</c:v>
                </c:pt>
                <c:pt idx="38">
                  <c:v>0.8631876524633518</c:v>
                </c:pt>
                <c:pt idx="39">
                  <c:v>0.8645922843833386</c:v>
                </c:pt>
                <c:pt idx="40">
                  <c:v>0.8561513853494551</c:v>
                </c:pt>
                <c:pt idx="41">
                  <c:v>0.8470643869423222</c:v>
                </c:pt>
                <c:pt idx="42">
                  <c:v>0.8718946507627668</c:v>
                </c:pt>
                <c:pt idx="43">
                  <c:v>0.8667726051046633</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0866963675978016</c:v>
                </c:pt>
                <c:pt idx="1">
                  <c:v>1.0783338210906253</c:v>
                </c:pt>
                <c:pt idx="2">
                  <c:v>1.078696627751943</c:v>
                </c:pt>
                <c:pt idx="3">
                  <c:v>1.0786264754658081</c:v>
                </c:pt>
                <c:pt idx="4">
                  <c:v>1.0792571874593468</c:v>
                </c:pt>
                <c:pt idx="5">
                  <c:v>1.079127097697411</c:v>
                </c:pt>
                <c:pt idx="6">
                  <c:v>1.0762926829268293</c:v>
                </c:pt>
                <c:pt idx="7">
                  <c:v>1.113087302877581</c:v>
                </c:pt>
                <c:pt idx="8">
                  <c:v>1.1246585143749186</c:v>
                </c:pt>
                <c:pt idx="9">
                  <c:v>1.12357321713115</c:v>
                </c:pt>
                <c:pt idx="10">
                  <c:v>1.12130081300813</c:v>
                </c:pt>
                <c:pt idx="11">
                  <c:v>1.01056876199148</c:v>
                </c:pt>
                <c:pt idx="12">
                  <c:v>0.9135581644931542</c:v>
                </c:pt>
                <c:pt idx="13">
                  <c:v>0.9135128105085186</c:v>
                </c:pt>
                <c:pt idx="14">
                  <c:v>1.0075767429760665</c:v>
                </c:pt>
                <c:pt idx="15">
                  <c:v>1.1197034242788853</c:v>
                </c:pt>
                <c:pt idx="16">
                  <c:v>1.1227436823104693</c:v>
                </c:pt>
                <c:pt idx="17">
                  <c:v>1.0791895671403948</c:v>
                </c:pt>
                <c:pt idx="18">
                  <c:v>1.004</c:v>
                </c:pt>
                <c:pt idx="19">
                  <c:v>1.0035449460127488</c:v>
                </c:pt>
                <c:pt idx="20">
                  <c:v>1.063121951219512</c:v>
                </c:pt>
                <c:pt idx="21">
                  <c:v>1.1237438615889948</c:v>
                </c:pt>
                <c:pt idx="22">
                  <c:v>1.1223374849598386</c:v>
                </c:pt>
                <c:pt idx="23">
                  <c:v>1.1239715112686592</c:v>
                </c:pt>
                <c:pt idx="24">
                  <c:v>1.1207115215765342</c:v>
                </c:pt>
                <c:pt idx="25">
                  <c:v>1.1238129309223364</c:v>
                </c:pt>
                <c:pt idx="26">
                  <c:v>1.0976617125760186</c:v>
                </c:pt>
                <c:pt idx="27">
                  <c:v>1.0942702913631632</c:v>
                </c:pt>
                <c:pt idx="28">
                  <c:v>1.0975736681194301</c:v>
                </c:pt>
                <c:pt idx="29">
                  <c:v>1.0951281384155067</c:v>
                </c:pt>
                <c:pt idx="30">
                  <c:v>1.0965109095047638</c:v>
                </c:pt>
                <c:pt idx="31">
                  <c:v>1.095964358882638</c:v>
                </c:pt>
                <c:pt idx="32">
                  <c:v>1.0983121402322027</c:v>
                </c:pt>
                <c:pt idx="33">
                  <c:v>1.0936026278986568</c:v>
                </c:pt>
                <c:pt idx="34">
                  <c:v>1.0311504194576313</c:v>
                </c:pt>
                <c:pt idx="35">
                  <c:v>0.9780791621946856</c:v>
                </c:pt>
                <c:pt idx="36">
                  <c:v>0.9778529383069369</c:v>
                </c:pt>
                <c:pt idx="37">
                  <c:v>0.9762624784573863</c:v>
                </c:pt>
                <c:pt idx="38">
                  <c:v>1.0442883621110135</c:v>
                </c:pt>
                <c:pt idx="39">
                  <c:v>1.0947224661008683</c:v>
                </c:pt>
                <c:pt idx="40">
                  <c:v>1.0960881865183885</c:v>
                </c:pt>
                <c:pt idx="41">
                  <c:v>1.0307967479674798</c:v>
                </c:pt>
                <c:pt idx="42">
                  <c:v>0.9786673604110436</c:v>
                </c:pt>
                <c:pt idx="43">
                  <c:v>0.9839685223725286</c:v>
                </c:pt>
                <c:pt idx="44">
                  <c:v>1.0346666666666666</c:v>
                </c:pt>
                <c:pt idx="45">
                  <c:v>1.0949887808526553</c:v>
                </c:pt>
                <c:pt idx="46">
                  <c:v>1.093924808117601</c:v>
                </c:pt>
                <c:pt idx="47">
                  <c:v>1.0925498357776984</c:v>
                </c:pt>
                <c:pt idx="48">
                  <c:v>1.0998146160601034</c:v>
                </c:pt>
                <c:pt idx="49">
                  <c:v>1.0977656356717729</c:v>
                </c:pt>
                <c:pt idx="50">
                  <c:v>1.0946991869918699</c:v>
                </c:pt>
                <c:pt idx="51">
                  <c:v>1.0950243902439023</c:v>
                </c:pt>
              </c:numCache>
            </c:numRef>
          </c:xVal>
          <c:yVal>
            <c:numRef>
              <c:f>Sheet1!$B$48:$B$99</c:f>
              <c:numCache>
                <c:formatCode>General</c:formatCode>
                <c:ptCount val="52"/>
                <c:pt idx="0">
                  <c:v>0.8627841273918069</c:v>
                </c:pt>
                <c:pt idx="1">
                  <c:v>0.8808840670671568</c:v>
                </c:pt>
                <c:pt idx="2">
                  <c:v>0.872411769637019</c:v>
                </c:pt>
                <c:pt idx="3">
                  <c:v>0.8513779880299609</c:v>
                </c:pt>
                <c:pt idx="4">
                  <c:v>0.8928949183720396</c:v>
                </c:pt>
                <c:pt idx="5">
                  <c:v>0.8574706722551338</c:v>
                </c:pt>
                <c:pt idx="6">
                  <c:v>0.8719440511434333</c:v>
                </c:pt>
                <c:pt idx="7">
                  <c:v>0.8689332987282636</c:v>
                </c:pt>
                <c:pt idx="8">
                  <c:v>0.8615829708579866</c:v>
                </c:pt>
                <c:pt idx="9">
                  <c:v>0.8629385964912281</c:v>
                </c:pt>
                <c:pt idx="10">
                  <c:v>0.8619465259809357</c:v>
                </c:pt>
                <c:pt idx="11">
                  <c:v>0.8836651475173902</c:v>
                </c:pt>
                <c:pt idx="12">
                  <c:v>0.9008306781975421</c:v>
                </c:pt>
                <c:pt idx="13">
                  <c:v>0.875033306687983</c:v>
                </c:pt>
                <c:pt idx="14">
                  <c:v>0.8263092156938489</c:v>
                </c:pt>
                <c:pt idx="15">
                  <c:v>0.8657810352725607</c:v>
                </c:pt>
                <c:pt idx="16">
                  <c:v>0.8736273125455314</c:v>
                </c:pt>
                <c:pt idx="17">
                  <c:v>0.8871445884217395</c:v>
                </c:pt>
                <c:pt idx="18">
                  <c:v>0.8846051984412243</c:v>
                </c:pt>
                <c:pt idx="19">
                  <c:v>0.8648315484772775</c:v>
                </c:pt>
                <c:pt idx="20">
                  <c:v>0.8646441445752384</c:v>
                </c:pt>
                <c:pt idx="21">
                  <c:v>0.8581482958826397</c:v>
                </c:pt>
                <c:pt idx="22">
                  <c:v>0.9128581499074361</c:v>
                </c:pt>
                <c:pt idx="23">
                  <c:v>0.8243600241004805</c:v>
                </c:pt>
                <c:pt idx="24">
                  <c:v>0.8403016621434021</c:v>
                </c:pt>
                <c:pt idx="25">
                  <c:v>0.8843946433451763</c:v>
                </c:pt>
                <c:pt idx="26">
                  <c:v>0.8499182706741836</c:v>
                </c:pt>
                <c:pt idx="27">
                  <c:v>0.8508455558227138</c:v>
                </c:pt>
                <c:pt idx="28">
                  <c:v>0.8521784303271405</c:v>
                </c:pt>
                <c:pt idx="29">
                  <c:v>0.8776243123894669</c:v>
                </c:pt>
                <c:pt idx="30">
                  <c:v>0.8611979478688989</c:v>
                </c:pt>
                <c:pt idx="31">
                  <c:v>0.8606157099913263</c:v>
                </c:pt>
                <c:pt idx="32">
                  <c:v>0.8772759950330044</c:v>
                </c:pt>
                <c:pt idx="33">
                  <c:v>0.850755348271317</c:v>
                </c:pt>
                <c:pt idx="34">
                  <c:v>0.8692114002116557</c:v>
                </c:pt>
                <c:pt idx="35">
                  <c:v>0.8544809626436781</c:v>
                </c:pt>
                <c:pt idx="36">
                  <c:v>0.8730916313402306</c:v>
                </c:pt>
                <c:pt idx="37">
                  <c:v>0.8410303800392745</c:v>
                </c:pt>
                <c:pt idx="38">
                  <c:v>0.8762320509405265</c:v>
                </c:pt>
                <c:pt idx="39">
                  <c:v>0.8486496755421795</c:v>
                </c:pt>
                <c:pt idx="40">
                  <c:v>0.8572445710217159</c:v>
                </c:pt>
                <c:pt idx="41">
                  <c:v>0.8814318958830121</c:v>
                </c:pt>
                <c:pt idx="42">
                  <c:v>0.8865852960652709</c:v>
                </c:pt>
                <c:pt idx="43">
                  <c:v>0.8502032624916379</c:v>
                </c:pt>
                <c:pt idx="44">
                  <c:v>0.8255666342112723</c:v>
                </c:pt>
                <c:pt idx="45">
                  <c:v>0.8938046533094871</c:v>
                </c:pt>
                <c:pt idx="46">
                  <c:v>0.8802076621440011</c:v>
                </c:pt>
                <c:pt idx="47">
                  <c:v>0.8775113222956419</c:v>
                </c:pt>
                <c:pt idx="48">
                  <c:v>0.8548160064347476</c:v>
                </c:pt>
                <c:pt idx="49">
                  <c:v>0.8613276521570716</c:v>
                </c:pt>
                <c:pt idx="50">
                  <c:v>0.8646228377088889</c:v>
                </c:pt>
                <c:pt idx="51">
                  <c:v>0.8770482089954215</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904210643324395</c:v>
                </c:pt>
              </c:numCache>
            </c:numRef>
          </c:xVal>
          <c:yVal>
            <c:numRef>
              <c:f>Sheet1!$B$102:$B$103</c:f>
              <c:numCache>
                <c:formatCode>General</c:formatCode>
                <c:ptCount val="2"/>
                <c:pt idx="0">
                  <c:v>0.8715126778207613</c:v>
                </c:pt>
                <c:pt idx="1">
                  <c:v>0.871512677820761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904210643324395</c:v>
                </c:pt>
                <c:pt idx="1">
                  <c:v>0.904210643324395</c:v>
                </c:pt>
              </c:numCache>
            </c:numRef>
          </c:xVal>
          <c:yVal>
            <c:numRef>
              <c:f>Sheet1!$B$106:$B$107</c:f>
              <c:numCache>
                <c:formatCode>General</c:formatCode>
                <c:ptCount val="2"/>
                <c:pt idx="0">
                  <c:v>0.871512677820761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904210643324395</c:v>
                </c:pt>
              </c:numCache>
            </c:numRef>
          </c:xVal>
          <c:yVal>
            <c:numRef>
              <c:f>Sheet1!$B$110:$B$111</c:f>
              <c:numCache>
                <c:formatCode>General</c:formatCode>
                <c:ptCount val="2"/>
                <c:pt idx="0">
                  <c:v>0.8715126778207613</c:v>
                </c:pt>
                <c:pt idx="1">
                  <c:v>0.871512677820761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904210643324395</c:v>
                </c:pt>
                <c:pt idx="1">
                  <c:v>0.904210643324395</c:v>
                </c:pt>
              </c:numCache>
            </c:numRef>
          </c:xVal>
          <c:yVal>
            <c:numRef>
              <c:f>Sheet1!$B$114:$B$115</c:f>
              <c:numCache>
                <c:formatCode>General</c:formatCode>
                <c:ptCount val="2"/>
                <c:pt idx="0">
                  <c:v>0.871512677820761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0738508900320076</c:v>
                </c:pt>
              </c:numCache>
            </c:numRef>
          </c:xVal>
          <c:yVal>
            <c:numRef>
              <c:f>Sheet1!$B$118:$B$119</c:f>
              <c:numCache>
                <c:formatCode>General</c:formatCode>
                <c:ptCount val="2"/>
                <c:pt idx="0">
                  <c:v>0.8660784367892578</c:v>
                </c:pt>
                <c:pt idx="1">
                  <c:v>0.8660784367892578</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0738508900320076</c:v>
                </c:pt>
                <c:pt idx="1">
                  <c:v>1.0738508900320076</c:v>
                </c:pt>
              </c:numCache>
            </c:numRef>
          </c:xVal>
          <c:yVal>
            <c:numRef>
              <c:f>Sheet1!$B$122:$B$123</c:f>
              <c:numCache>
                <c:formatCode>General</c:formatCode>
                <c:ptCount val="2"/>
                <c:pt idx="0">
                  <c:v>0.86607843678925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0866963675978016</c:v>
                </c:pt>
                <c:pt idx="1">
                  <c:v>1.0783338210906253</c:v>
                </c:pt>
                <c:pt idx="2">
                  <c:v>1.078696627751943</c:v>
                </c:pt>
                <c:pt idx="3">
                  <c:v>1.0786264754658081</c:v>
                </c:pt>
                <c:pt idx="4">
                  <c:v>1.0792571874593468</c:v>
                </c:pt>
                <c:pt idx="5">
                  <c:v>1.079127097697411</c:v>
                </c:pt>
                <c:pt idx="6">
                  <c:v>1.0762926829268293</c:v>
                </c:pt>
                <c:pt idx="7">
                  <c:v>1.113087302877581</c:v>
                </c:pt>
                <c:pt idx="8">
                  <c:v>1.1246585143749186</c:v>
                </c:pt>
                <c:pt idx="9">
                  <c:v>1.12357321713115</c:v>
                </c:pt>
                <c:pt idx="10">
                  <c:v>1.12130081300813</c:v>
                </c:pt>
                <c:pt idx="11">
                  <c:v>1.01056876199148</c:v>
                </c:pt>
                <c:pt idx="12">
                  <c:v>0.9135581644931542</c:v>
                </c:pt>
                <c:pt idx="13">
                  <c:v>0.9135128105085186</c:v>
                </c:pt>
                <c:pt idx="14">
                  <c:v>1.0075767429760665</c:v>
                </c:pt>
                <c:pt idx="15">
                  <c:v>1.1197034242788853</c:v>
                </c:pt>
                <c:pt idx="16">
                  <c:v>1.1227436823104693</c:v>
                </c:pt>
                <c:pt idx="17">
                  <c:v>1.0791895671403948</c:v>
                </c:pt>
                <c:pt idx="18">
                  <c:v>1.004</c:v>
                </c:pt>
                <c:pt idx="19">
                  <c:v>1.0035449460127488</c:v>
                </c:pt>
                <c:pt idx="20">
                  <c:v>1.063121951219512</c:v>
                </c:pt>
                <c:pt idx="21">
                  <c:v>1.1237438615889948</c:v>
                </c:pt>
                <c:pt idx="22">
                  <c:v>1.1223374849598386</c:v>
                </c:pt>
                <c:pt idx="23">
                  <c:v>1.1239715112686592</c:v>
                </c:pt>
                <c:pt idx="24">
                  <c:v>1.1207115215765342</c:v>
                </c:pt>
                <c:pt idx="25">
                  <c:v>1.1238129309223364</c:v>
                </c:pt>
                <c:pt idx="26">
                  <c:v>1.0976617125760186</c:v>
                </c:pt>
                <c:pt idx="27">
                  <c:v>1.0942702913631632</c:v>
                </c:pt>
                <c:pt idx="28">
                  <c:v>1.0975736681194301</c:v>
                </c:pt>
                <c:pt idx="29">
                  <c:v>1.0951281384155067</c:v>
                </c:pt>
                <c:pt idx="30">
                  <c:v>1.0965109095047638</c:v>
                </c:pt>
                <c:pt idx="31">
                  <c:v>1.095964358882638</c:v>
                </c:pt>
                <c:pt idx="32">
                  <c:v>1.0983121402322027</c:v>
                </c:pt>
                <c:pt idx="33">
                  <c:v>1.0936026278986568</c:v>
                </c:pt>
                <c:pt idx="34">
                  <c:v>1.0311504194576313</c:v>
                </c:pt>
                <c:pt idx="35">
                  <c:v>0.9780791621946856</c:v>
                </c:pt>
                <c:pt idx="36">
                  <c:v>0.9778529383069369</c:v>
                </c:pt>
                <c:pt idx="37">
                  <c:v>0.9762624784573863</c:v>
                </c:pt>
                <c:pt idx="38">
                  <c:v>1.0442883621110135</c:v>
                </c:pt>
                <c:pt idx="39">
                  <c:v>1.0947224661008683</c:v>
                </c:pt>
                <c:pt idx="40">
                  <c:v>1.0960881865183885</c:v>
                </c:pt>
                <c:pt idx="41">
                  <c:v>1.0307967479674798</c:v>
                </c:pt>
                <c:pt idx="42">
                  <c:v>0.9786673604110436</c:v>
                </c:pt>
                <c:pt idx="43">
                  <c:v>0.9839685223725286</c:v>
                </c:pt>
                <c:pt idx="44">
                  <c:v>1.0346666666666666</c:v>
                </c:pt>
                <c:pt idx="45">
                  <c:v>1.0949887808526553</c:v>
                </c:pt>
                <c:pt idx="46">
                  <c:v>1.093924808117601</c:v>
                </c:pt>
                <c:pt idx="47">
                  <c:v>1.0925498357776984</c:v>
                </c:pt>
                <c:pt idx="48">
                  <c:v>1.0998146160601034</c:v>
                </c:pt>
                <c:pt idx="49">
                  <c:v>1.0977656356717729</c:v>
                </c:pt>
                <c:pt idx="50">
                  <c:v>1.0946991869918699</c:v>
                </c:pt>
                <c:pt idx="51">
                  <c:v>1.0950243902439023</c:v>
                </c:pt>
                <c:pt idx="52">
                  <c:v>0.904210643324395</c:v>
                </c:pt>
                <c:pt idx="53">
                  <c:v>0.904210643324395</c:v>
                </c:pt>
                <c:pt idx="54">
                  <c:v>1.0738508900320076</c:v>
                </c:pt>
              </c:numCache>
            </c:numRef>
          </c:xVal>
          <c:yVal>
            <c:numRef>
              <c:f>Sheet1!$B$126:$B$180</c:f>
              <c:numCache>
                <c:formatCode>General</c:formatCode>
                <c:ptCount val="55"/>
                <c:pt idx="0">
                  <c:v>0.8656669458688419</c:v>
                </c:pt>
                <c:pt idx="1">
                  <c:v>0.8659348309623803</c:v>
                </c:pt>
                <c:pt idx="2">
                  <c:v>0.8659232088450839</c:v>
                </c:pt>
                <c:pt idx="3">
                  <c:v>0.8659254560973673</c:v>
                </c:pt>
                <c:pt idx="4">
                  <c:v>0.8659052519237653</c:v>
                </c:pt>
                <c:pt idx="5">
                  <c:v>0.8659094192079789</c:v>
                </c:pt>
                <c:pt idx="6">
                  <c:v>0.8660002166062705</c:v>
                </c:pt>
                <c:pt idx="7">
                  <c:v>0.8648215409243164</c:v>
                </c:pt>
                <c:pt idx="8">
                  <c:v>0.8644508697332316</c:v>
                </c:pt>
                <c:pt idx="9">
                  <c:v>0.8644856360515313</c:v>
                </c:pt>
                <c:pt idx="10">
                  <c:v>0.8645584300492124</c:v>
                </c:pt>
                <c:pt idx="11">
                  <c:v>0.8681056110208033</c:v>
                </c:pt>
                <c:pt idx="12">
                  <c:v>0.871213240133868</c:v>
                </c:pt>
                <c:pt idx="13">
                  <c:v>0.8712146929995</c:v>
                </c:pt>
                <c:pt idx="14">
                  <c:v>0.8682014570998804</c:v>
                </c:pt>
                <c:pt idx="15">
                  <c:v>0.8646096006619898</c:v>
                </c:pt>
                <c:pt idx="16">
                  <c:v>0.8645122092984293</c:v>
                </c:pt>
                <c:pt idx="17">
                  <c:v>0.8659074180672304</c:v>
                </c:pt>
                <c:pt idx="18">
                  <c:v>0.8683160341758804</c:v>
                </c:pt>
                <c:pt idx="19">
                  <c:v>0.8683306113360595</c:v>
                </c:pt>
                <c:pt idx="20">
                  <c:v>0.8664221266898027</c:v>
                </c:pt>
                <c:pt idx="21">
                  <c:v>0.8644801696416868</c:v>
                </c:pt>
                <c:pt idx="22">
                  <c:v>0.8645252213893247</c:v>
                </c:pt>
                <c:pt idx="23">
                  <c:v>0.8644728771314832</c:v>
                </c:pt>
                <c:pt idx="24">
                  <c:v>0.8645773073601056</c:v>
                </c:pt>
                <c:pt idx="25">
                  <c:v>0.8644779570806198</c:v>
                </c:pt>
                <c:pt idx="26">
                  <c:v>0.8653156829535744</c:v>
                </c:pt>
                <c:pt idx="27">
                  <c:v>0.8654243234481958</c:v>
                </c:pt>
                <c:pt idx="28">
                  <c:v>0.8653185033621028</c:v>
                </c:pt>
                <c:pt idx="29">
                  <c:v>0.8653968432497106</c:v>
                </c:pt>
                <c:pt idx="30">
                  <c:v>0.8653525476799018</c:v>
                </c:pt>
                <c:pt idx="31">
                  <c:v>0.8653700558353908</c:v>
                </c:pt>
                <c:pt idx="32">
                  <c:v>0.8652948472101357</c:v>
                </c:pt>
                <c:pt idx="33">
                  <c:v>0.8654457113220315</c:v>
                </c:pt>
                <c:pt idx="34">
                  <c:v>0.8674462999807074</c:v>
                </c:pt>
                <c:pt idx="35">
                  <c:v>0.8691463800584549</c:v>
                </c:pt>
                <c:pt idx="36">
                  <c:v>0.8691536268949631</c:v>
                </c:pt>
                <c:pt idx="37">
                  <c:v>0.869204575548606</c:v>
                </c:pt>
                <c:pt idx="38">
                  <c:v>0.8670254402589009</c:v>
                </c:pt>
                <c:pt idx="39">
                  <c:v>0.8654098385216483</c:v>
                </c:pt>
                <c:pt idx="40">
                  <c:v>0.8653660891515873</c:v>
                </c:pt>
                <c:pt idx="41">
                  <c:v>0.8674576294627186</c:v>
                </c:pt>
                <c:pt idx="42">
                  <c:v>0.8691275377675244</c:v>
                </c:pt>
                <c:pt idx="43">
                  <c:v>0.8689577208024771</c:v>
                </c:pt>
                <c:pt idx="44">
                  <c:v>0.8673336608208907</c:v>
                </c:pt>
                <c:pt idx="45">
                  <c:v>0.8654013074178594</c:v>
                </c:pt>
                <c:pt idx="46">
                  <c:v>0.865435390628686</c:v>
                </c:pt>
                <c:pt idx="47">
                  <c:v>0.8654794363740307</c:v>
                </c:pt>
                <c:pt idx="48">
                  <c:v>0.8652467170290539</c:v>
                </c:pt>
                <c:pt idx="49">
                  <c:v>0.8653123538900884</c:v>
                </c:pt>
                <c:pt idx="50">
                  <c:v>0.8654105842426182</c:v>
                </c:pt>
                <c:pt idx="51">
                  <c:v>0.8654001667096914</c:v>
                </c:pt>
                <c:pt idx="52">
                  <c:v>0.8715126778207613</c:v>
                </c:pt>
                <c:pt idx="53">
                  <c:v>0.8715126778207613</c:v>
                </c:pt>
                <c:pt idx="54">
                  <c:v>0.866078436789257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54297798889232"/>
          <c:min val="0.659488019280384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3.2907</c:v>
                </c:pt>
                <c:pt idx="1">
                  <c:v>3.2842</c:v>
                </c:pt>
                <c:pt idx="2">
                  <c:v>3.2977</c:v>
                </c:pt>
                <c:pt idx="3">
                  <c:v>3.2902</c:v>
                </c:pt>
                <c:pt idx="4">
                  <c:v>3.291</c:v>
                </c:pt>
                <c:pt idx="5">
                  <c:v>3.2875</c:v>
                </c:pt>
                <c:pt idx="6">
                  <c:v>3.2949</c:v>
                </c:pt>
                <c:pt idx="7">
                  <c:v>3.2908</c:v>
                </c:pt>
                <c:pt idx="8">
                  <c:v>3.2898</c:v>
                </c:pt>
                <c:pt idx="9">
                  <c:v>3.2893</c:v>
                </c:pt>
                <c:pt idx="10">
                  <c:v>3.2912</c:v>
                </c:pt>
                <c:pt idx="11">
                  <c:v>3.2888</c:v>
                </c:pt>
                <c:pt idx="12">
                  <c:v>3.2899</c:v>
                </c:pt>
                <c:pt idx="13">
                  <c:v>3.2921</c:v>
                </c:pt>
                <c:pt idx="14">
                  <c:v>3.2921</c:v>
                </c:pt>
                <c:pt idx="15">
                  <c:v>3.2906</c:v>
                </c:pt>
                <c:pt idx="16">
                  <c:v>3.2879</c:v>
                </c:pt>
                <c:pt idx="17">
                  <c:v>3.2887</c:v>
                </c:pt>
                <c:pt idx="18">
                  <c:v>3.2933</c:v>
                </c:pt>
                <c:pt idx="19">
                  <c:v>3.2691</c:v>
                </c:pt>
                <c:pt idx="20">
                  <c:v>3.2839</c:v>
                </c:pt>
                <c:pt idx="21">
                  <c:v>3.2904</c:v>
                </c:pt>
                <c:pt idx="22">
                  <c:v>3.2891</c:v>
                </c:pt>
                <c:pt idx="23">
                  <c:v>3.2881</c:v>
                </c:pt>
                <c:pt idx="24">
                  <c:v>3.2959</c:v>
                </c:pt>
                <c:pt idx="25">
                  <c:v>3.2867</c:v>
                </c:pt>
                <c:pt idx="26">
                  <c:v>3.2876</c:v>
                </c:pt>
                <c:pt idx="27">
                  <c:v>3.2944</c:v>
                </c:pt>
                <c:pt idx="28">
                  <c:v>3.2865</c:v>
                </c:pt>
                <c:pt idx="29">
                  <c:v>3.2901</c:v>
                </c:pt>
                <c:pt idx="30">
                  <c:v>3.2904</c:v>
                </c:pt>
                <c:pt idx="31">
                  <c:v>3.1675</c:v>
                </c:pt>
                <c:pt idx="32">
                  <c:v>2.6703</c:v>
                </c:pt>
                <c:pt idx="33">
                  <c:v>2.6644</c:v>
                </c:pt>
                <c:pt idx="34">
                  <c:v>2.8416</c:v>
                </c:pt>
                <c:pt idx="35">
                  <c:v>3.287</c:v>
                </c:pt>
                <c:pt idx="36">
                  <c:v>3.2873</c:v>
                </c:pt>
                <c:pt idx="37">
                  <c:v>3.2928</c:v>
                </c:pt>
                <c:pt idx="38">
                  <c:v>3.2871</c:v>
                </c:pt>
                <c:pt idx="39">
                  <c:v>3.2878</c:v>
                </c:pt>
                <c:pt idx="40">
                  <c:v>3.2925</c:v>
                </c:pt>
                <c:pt idx="41">
                  <c:v>3.2938</c:v>
                </c:pt>
                <c:pt idx="42">
                  <c:v>3.288</c:v>
                </c:pt>
                <c:pt idx="43">
                  <c:v>3.2896</c:v>
                </c:pt>
              </c:numCache>
            </c:numRef>
          </c:xVal>
          <c:yVal>
            <c:numRef>
              <c:f>Sheet1!$B$2:$B$45</c:f>
              <c:numCache>
                <c:formatCode>General</c:formatCode>
                <c:ptCount val="44"/>
                <c:pt idx="0">
                  <c:v>0.8585182949111072</c:v>
                </c:pt>
                <c:pt idx="1">
                  <c:v>0.8728525188812349</c:v>
                </c:pt>
                <c:pt idx="2">
                  <c:v>0.8443898790624162</c:v>
                </c:pt>
                <c:pt idx="3">
                  <c:v>0.8625833539145468</c:v>
                </c:pt>
                <c:pt idx="4">
                  <c:v>0.8687103035593279</c:v>
                </c:pt>
                <c:pt idx="5">
                  <c:v>0.8509185021144893</c:v>
                </c:pt>
                <c:pt idx="6">
                  <c:v>0.8595115511551155</c:v>
                </c:pt>
                <c:pt idx="7">
                  <c:v>0.8568714168714169</c:v>
                </c:pt>
                <c:pt idx="8">
                  <c:v>0.8445983536758445</c:v>
                </c:pt>
                <c:pt idx="9">
                  <c:v>0.8529200136829564</c:v>
                </c:pt>
                <c:pt idx="10">
                  <c:v>0.8521173619916887</c:v>
                </c:pt>
                <c:pt idx="11">
                  <c:v>0.8591908756762038</c:v>
                </c:pt>
                <c:pt idx="12">
                  <c:v>0.8639939788082274</c:v>
                </c:pt>
                <c:pt idx="13">
                  <c:v>0.8575041206620154</c:v>
                </c:pt>
                <c:pt idx="14">
                  <c:v>0.8662861006722755</c:v>
                </c:pt>
                <c:pt idx="15">
                  <c:v>0.8709266611731216</c:v>
                </c:pt>
                <c:pt idx="16">
                  <c:v>0.8610419668981178</c:v>
                </c:pt>
                <c:pt idx="17">
                  <c:v>0.8504662204679366</c:v>
                </c:pt>
                <c:pt idx="18">
                  <c:v>0.8663782132858233</c:v>
                </c:pt>
                <c:pt idx="19">
                  <c:v>0.8559394902137955</c:v>
                </c:pt>
                <c:pt idx="20">
                  <c:v>0.8879238438215785</c:v>
                </c:pt>
                <c:pt idx="21">
                  <c:v>0.8317105523099935</c:v>
                </c:pt>
                <c:pt idx="22">
                  <c:v>0.8452096686355829</c:v>
                </c:pt>
                <c:pt idx="23">
                  <c:v>0.8556743258063237</c:v>
                </c:pt>
                <c:pt idx="24">
                  <c:v>0.8277689454160042</c:v>
                </c:pt>
                <c:pt idx="25">
                  <c:v>0.8622986036519871</c:v>
                </c:pt>
                <c:pt idx="26">
                  <c:v>0.8409618768328446</c:v>
                </c:pt>
                <c:pt idx="27">
                  <c:v>0.8484699788727595</c:v>
                </c:pt>
                <c:pt idx="28">
                  <c:v>0.8314230176285273</c:v>
                </c:pt>
                <c:pt idx="29">
                  <c:v>0.8473000683526999</c:v>
                </c:pt>
                <c:pt idx="30">
                  <c:v>0.8569394680018034</c:v>
                </c:pt>
                <c:pt idx="31">
                  <c:v>0.8840330826474013</c:v>
                </c:pt>
                <c:pt idx="32">
                  <c:v>0.8805658894419701</c:v>
                </c:pt>
                <c:pt idx="33">
                  <c:v>0.8833164304754041</c:v>
                </c:pt>
                <c:pt idx="34">
                  <c:v>0.8811522390267352</c:v>
                </c:pt>
                <c:pt idx="35">
                  <c:v>0.8485189087928814</c:v>
                </c:pt>
                <c:pt idx="36">
                  <c:v>0.8763380623911664</c:v>
                </c:pt>
                <c:pt idx="37">
                  <c:v>0.8470611052523122</c:v>
                </c:pt>
                <c:pt idx="38">
                  <c:v>0.8631876524633518</c:v>
                </c:pt>
                <c:pt idx="39">
                  <c:v>0.8645922843833386</c:v>
                </c:pt>
                <c:pt idx="40">
                  <c:v>0.8561513853494551</c:v>
                </c:pt>
                <c:pt idx="41">
                  <c:v>0.8470643869423222</c:v>
                </c:pt>
                <c:pt idx="42">
                  <c:v>0.8718946507627668</c:v>
                </c:pt>
                <c:pt idx="43">
                  <c:v>0.8667726051046633</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numCache>
            </c:numRef>
          </c:xVal>
          <c:yVal>
            <c:numRef>
              <c:f>Sheet1!$B$48:$B$99</c:f>
              <c:numCache>
                <c:formatCode>General</c:formatCode>
                <c:ptCount val="52"/>
                <c:pt idx="0">
                  <c:v>0.8627841273918069</c:v>
                </c:pt>
                <c:pt idx="1">
                  <c:v>0.8808840670671568</c:v>
                </c:pt>
                <c:pt idx="2">
                  <c:v>0.872411769637019</c:v>
                </c:pt>
                <c:pt idx="3">
                  <c:v>0.8513779880299609</c:v>
                </c:pt>
                <c:pt idx="4">
                  <c:v>0.8928949183720396</c:v>
                </c:pt>
                <c:pt idx="5">
                  <c:v>0.8574706722551338</c:v>
                </c:pt>
                <c:pt idx="6">
                  <c:v>0.8719440511434333</c:v>
                </c:pt>
                <c:pt idx="7">
                  <c:v>0.8689332987282636</c:v>
                </c:pt>
                <c:pt idx="8">
                  <c:v>0.8615829708579866</c:v>
                </c:pt>
                <c:pt idx="9">
                  <c:v>0.8629385964912281</c:v>
                </c:pt>
                <c:pt idx="10">
                  <c:v>0.8619465259809357</c:v>
                </c:pt>
                <c:pt idx="11">
                  <c:v>0.8836651475173902</c:v>
                </c:pt>
                <c:pt idx="12">
                  <c:v>0.9008306781975421</c:v>
                </c:pt>
                <c:pt idx="13">
                  <c:v>0.875033306687983</c:v>
                </c:pt>
                <c:pt idx="14">
                  <c:v>0.8263092156938489</c:v>
                </c:pt>
                <c:pt idx="15">
                  <c:v>0.8657810352725607</c:v>
                </c:pt>
                <c:pt idx="16">
                  <c:v>0.8736273125455314</c:v>
                </c:pt>
                <c:pt idx="17">
                  <c:v>0.8871445884217395</c:v>
                </c:pt>
                <c:pt idx="18">
                  <c:v>0.8846051984412243</c:v>
                </c:pt>
                <c:pt idx="19">
                  <c:v>0.8648315484772775</c:v>
                </c:pt>
                <c:pt idx="20">
                  <c:v>0.8646441445752384</c:v>
                </c:pt>
                <c:pt idx="21">
                  <c:v>0.8581482958826397</c:v>
                </c:pt>
                <c:pt idx="22">
                  <c:v>0.9128581499074361</c:v>
                </c:pt>
                <c:pt idx="23">
                  <c:v>0.8243600241004805</c:v>
                </c:pt>
                <c:pt idx="24">
                  <c:v>0.8403016621434021</c:v>
                </c:pt>
                <c:pt idx="25">
                  <c:v>0.8843946433451763</c:v>
                </c:pt>
                <c:pt idx="26">
                  <c:v>0.8499182706741836</c:v>
                </c:pt>
                <c:pt idx="27">
                  <c:v>0.8508455558227138</c:v>
                </c:pt>
                <c:pt idx="28">
                  <c:v>0.8521784303271405</c:v>
                </c:pt>
                <c:pt idx="29">
                  <c:v>0.8776243123894669</c:v>
                </c:pt>
                <c:pt idx="30">
                  <c:v>0.8611979478688989</c:v>
                </c:pt>
                <c:pt idx="31">
                  <c:v>0.8606157099913263</c:v>
                </c:pt>
                <c:pt idx="32">
                  <c:v>0.8772759950330044</c:v>
                </c:pt>
                <c:pt idx="33">
                  <c:v>0.850755348271317</c:v>
                </c:pt>
                <c:pt idx="34">
                  <c:v>0.8692114002116557</c:v>
                </c:pt>
                <c:pt idx="35">
                  <c:v>0.8544809626436781</c:v>
                </c:pt>
                <c:pt idx="36">
                  <c:v>0.8730916313402306</c:v>
                </c:pt>
                <c:pt idx="37">
                  <c:v>0.8410303800392745</c:v>
                </c:pt>
                <c:pt idx="38">
                  <c:v>0.8762320509405265</c:v>
                </c:pt>
                <c:pt idx="39">
                  <c:v>0.8486496755421795</c:v>
                </c:pt>
                <c:pt idx="40">
                  <c:v>0.8572445710217159</c:v>
                </c:pt>
                <c:pt idx="41">
                  <c:v>0.8814318958830121</c:v>
                </c:pt>
                <c:pt idx="42">
                  <c:v>0.8865852960652709</c:v>
                </c:pt>
                <c:pt idx="43">
                  <c:v>0.8502032624916379</c:v>
                </c:pt>
                <c:pt idx="44">
                  <c:v>0.8255666342112723</c:v>
                </c:pt>
                <c:pt idx="45">
                  <c:v>0.8938046533094871</c:v>
                </c:pt>
                <c:pt idx="46">
                  <c:v>0.8802076621440011</c:v>
                </c:pt>
                <c:pt idx="47">
                  <c:v>0.8775113222956419</c:v>
                </c:pt>
                <c:pt idx="48">
                  <c:v>0.8548160064347476</c:v>
                </c:pt>
                <c:pt idx="49">
                  <c:v>0.8613276521570716</c:v>
                </c:pt>
                <c:pt idx="50">
                  <c:v>0.8646228377088889</c:v>
                </c:pt>
                <c:pt idx="51">
                  <c:v>0.8770482089954215</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7809856029613695</c:v>
                </c:pt>
              </c:numCache>
            </c:numRef>
          </c:xVal>
          <c:yVal>
            <c:numRef>
              <c:f>Sheet1!$B$102:$B$103</c:f>
              <c:numCache>
                <c:formatCode>General</c:formatCode>
                <c:ptCount val="2"/>
                <c:pt idx="0">
                  <c:v>0.8715126778207613</c:v>
                </c:pt>
                <c:pt idx="1">
                  <c:v>0.871512677820761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7809856029613695</c:v>
                </c:pt>
                <c:pt idx="1">
                  <c:v>2.7809856029613695</c:v>
                </c:pt>
              </c:numCache>
            </c:numRef>
          </c:xVal>
          <c:yVal>
            <c:numRef>
              <c:f>Sheet1!$B$106:$B$107</c:f>
              <c:numCache>
                <c:formatCode>General</c:formatCode>
                <c:ptCount val="2"/>
                <c:pt idx="0">
                  <c:v>0.871512677820761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7809856029613695</c:v>
                </c:pt>
              </c:numCache>
            </c:numRef>
          </c:xVal>
          <c:yVal>
            <c:numRef>
              <c:f>Sheet1!$B$110:$B$111</c:f>
              <c:numCache>
                <c:formatCode>General</c:formatCode>
                <c:ptCount val="2"/>
                <c:pt idx="0">
                  <c:v>0.8715126778207613</c:v>
                </c:pt>
                <c:pt idx="1">
                  <c:v>0.871512677820761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7809856029613695</c:v>
                </c:pt>
                <c:pt idx="1">
                  <c:v>2.7809856029613695</c:v>
                </c:pt>
              </c:numCache>
            </c:numRef>
          </c:xVal>
          <c:yVal>
            <c:numRef>
              <c:f>Sheet1!$B$114:$B$115</c:f>
              <c:numCache>
                <c:formatCode>General</c:formatCode>
                <c:ptCount val="2"/>
                <c:pt idx="0">
                  <c:v>0.871512677820761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3.302098386519415</c:v>
                </c:pt>
              </c:numCache>
            </c:numRef>
          </c:xVal>
          <c:yVal>
            <c:numRef>
              <c:f>Sheet1!$B$118:$B$119</c:f>
              <c:numCache>
                <c:formatCode>General</c:formatCode>
                <c:ptCount val="2"/>
                <c:pt idx="0">
                  <c:v>0.8660784367892578</c:v>
                </c:pt>
                <c:pt idx="1">
                  <c:v>0.8660784367892578</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3.302098386519415</c:v>
                </c:pt>
                <c:pt idx="1">
                  <c:v>3.302098386519415</c:v>
                </c:pt>
              </c:numCache>
            </c:numRef>
          </c:xVal>
          <c:yVal>
            <c:numRef>
              <c:f>Sheet1!$B$122:$B$123</c:f>
              <c:numCache>
                <c:formatCode>General</c:formatCode>
                <c:ptCount val="2"/>
                <c:pt idx="0">
                  <c:v>0.86607843678925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3.3417</c:v>
                </c:pt>
                <c:pt idx="1">
                  <c:v>3.3162</c:v>
                </c:pt>
                <c:pt idx="2">
                  <c:v>3.3171</c:v>
                </c:pt>
                <c:pt idx="3">
                  <c:v>3.3171</c:v>
                </c:pt>
                <c:pt idx="4">
                  <c:v>3.3185</c:v>
                </c:pt>
                <c:pt idx="5">
                  <c:v>3.3181</c:v>
                </c:pt>
                <c:pt idx="6">
                  <c:v>3.3096</c:v>
                </c:pt>
                <c:pt idx="7">
                  <c:v>3.4233</c:v>
                </c:pt>
                <c:pt idx="8">
                  <c:v>3.4581</c:v>
                </c:pt>
                <c:pt idx="9">
                  <c:v>3.4551</c:v>
                </c:pt>
                <c:pt idx="10">
                  <c:v>3.448</c:v>
                </c:pt>
                <c:pt idx="11">
                  <c:v>3.1076</c:v>
                </c:pt>
                <c:pt idx="12">
                  <c:v>2.8091</c:v>
                </c:pt>
                <c:pt idx="13">
                  <c:v>2.8096</c:v>
                </c:pt>
                <c:pt idx="14">
                  <c:v>3.0985</c:v>
                </c:pt>
                <c:pt idx="15">
                  <c:v>3.4432</c:v>
                </c:pt>
                <c:pt idx="16">
                  <c:v>3.4521</c:v>
                </c:pt>
                <c:pt idx="17">
                  <c:v>3.3184</c:v>
                </c:pt>
                <c:pt idx="18">
                  <c:v>3.0873</c:v>
                </c:pt>
                <c:pt idx="19">
                  <c:v>3.0857</c:v>
                </c:pt>
                <c:pt idx="20">
                  <c:v>3.2691</c:v>
                </c:pt>
                <c:pt idx="21">
                  <c:v>3.4554</c:v>
                </c:pt>
                <c:pt idx="22">
                  <c:v>3.4513</c:v>
                </c:pt>
                <c:pt idx="23">
                  <c:v>3.4561</c:v>
                </c:pt>
                <c:pt idx="24">
                  <c:v>3.4463</c:v>
                </c:pt>
                <c:pt idx="25">
                  <c:v>3.4555</c:v>
                </c:pt>
                <c:pt idx="26">
                  <c:v>3.3752</c:v>
                </c:pt>
                <c:pt idx="27">
                  <c:v>3.3651</c:v>
                </c:pt>
                <c:pt idx="28">
                  <c:v>3.3746</c:v>
                </c:pt>
                <c:pt idx="29">
                  <c:v>3.3673</c:v>
                </c:pt>
                <c:pt idx="30">
                  <c:v>3.3721</c:v>
                </c:pt>
                <c:pt idx="31">
                  <c:v>3.3702</c:v>
                </c:pt>
                <c:pt idx="32">
                  <c:v>3.3772</c:v>
                </c:pt>
                <c:pt idx="33">
                  <c:v>3.3625</c:v>
                </c:pt>
                <c:pt idx="34">
                  <c:v>3.1712</c:v>
                </c:pt>
                <c:pt idx="35">
                  <c:v>3.0073</c:v>
                </c:pt>
                <c:pt idx="36">
                  <c:v>3.0068</c:v>
                </c:pt>
                <c:pt idx="37">
                  <c:v>3.0023</c:v>
                </c:pt>
                <c:pt idx="38">
                  <c:v>3.2115</c:v>
                </c:pt>
                <c:pt idx="39">
                  <c:v>3.3666</c:v>
                </c:pt>
                <c:pt idx="40">
                  <c:v>3.3708</c:v>
                </c:pt>
                <c:pt idx="41">
                  <c:v>3.1697</c:v>
                </c:pt>
                <c:pt idx="42">
                  <c:v>3.0095</c:v>
                </c:pt>
                <c:pt idx="43">
                  <c:v>3.0259</c:v>
                </c:pt>
                <c:pt idx="44">
                  <c:v>3.1816</c:v>
                </c:pt>
                <c:pt idx="45">
                  <c:v>3.3672</c:v>
                </c:pt>
                <c:pt idx="46">
                  <c:v>3.3636</c:v>
                </c:pt>
                <c:pt idx="47">
                  <c:v>3.3597</c:v>
                </c:pt>
                <c:pt idx="48">
                  <c:v>3.3816</c:v>
                </c:pt>
                <c:pt idx="49">
                  <c:v>3.3753</c:v>
                </c:pt>
                <c:pt idx="50">
                  <c:v>3.3662</c:v>
                </c:pt>
                <c:pt idx="51">
                  <c:v>3.3672</c:v>
                </c:pt>
                <c:pt idx="52">
                  <c:v>2.7809856029613695</c:v>
                </c:pt>
                <c:pt idx="53">
                  <c:v>2.7809856029613695</c:v>
                </c:pt>
                <c:pt idx="54">
                  <c:v>3.302098386519415</c:v>
                </c:pt>
              </c:numCache>
            </c:numRef>
          </c:xVal>
          <c:yVal>
            <c:numRef>
              <c:f>Sheet1!$B$126:$B$180</c:f>
              <c:numCache>
                <c:formatCode>General</c:formatCode>
                <c:ptCount val="55"/>
                <c:pt idx="0">
                  <c:v>0.8656654653180523</c:v>
                </c:pt>
                <c:pt idx="1">
                  <c:v>0.8659313830822591</c:v>
                </c:pt>
                <c:pt idx="2">
                  <c:v>0.8659219977494048</c:v>
                </c:pt>
                <c:pt idx="3">
                  <c:v>0.8659219977494048</c:v>
                </c:pt>
                <c:pt idx="4">
                  <c:v>0.8659073983427424</c:v>
                </c:pt>
                <c:pt idx="5">
                  <c:v>0.8659115696017888</c:v>
                </c:pt>
                <c:pt idx="6">
                  <c:v>0.8660002088565244</c:v>
                </c:pt>
                <c:pt idx="7">
                  <c:v>0.8648145284725905</c:v>
                </c:pt>
                <c:pt idx="8">
                  <c:v>0.8644516289355554</c:v>
                </c:pt>
                <c:pt idx="9">
                  <c:v>0.8644829133784032</c:v>
                </c:pt>
                <c:pt idx="10">
                  <c:v>0.8645569532264765</c:v>
                </c:pt>
                <c:pt idx="11">
                  <c:v>0.8681066946749469</c:v>
                </c:pt>
                <c:pt idx="12">
                  <c:v>0.8712194967383089</c:v>
                </c:pt>
                <c:pt idx="13">
                  <c:v>0.871214282664501</c:v>
                </c:pt>
                <c:pt idx="14">
                  <c:v>0.8682015908182521</c:v>
                </c:pt>
                <c:pt idx="15">
                  <c:v>0.8646070083350331</c:v>
                </c:pt>
                <c:pt idx="16">
                  <c:v>0.8645141978212512</c:v>
                </c:pt>
                <c:pt idx="17">
                  <c:v>0.865908441157504</c:v>
                </c:pt>
                <c:pt idx="18">
                  <c:v>0.8683183860715508</c:v>
                </c:pt>
                <c:pt idx="19">
                  <c:v>0.8683350711077363</c:v>
                </c:pt>
                <c:pt idx="20">
                  <c:v>0.8664225488349705</c:v>
                </c:pt>
                <c:pt idx="21">
                  <c:v>0.8644797849341185</c:v>
                </c:pt>
                <c:pt idx="22">
                  <c:v>0.8645225403393438</c:v>
                </c:pt>
                <c:pt idx="23">
                  <c:v>0.8644724852307873</c:v>
                </c:pt>
                <c:pt idx="24">
                  <c:v>0.8645746810774236</c:v>
                </c:pt>
                <c:pt idx="25">
                  <c:v>0.8644787421193568</c:v>
                </c:pt>
                <c:pt idx="26">
                  <c:v>0.8653161223729179</c:v>
                </c:pt>
                <c:pt idx="27">
                  <c:v>0.865421446663839</c:v>
                </c:pt>
                <c:pt idx="28">
                  <c:v>0.8653223792614875</c:v>
                </c:pt>
                <c:pt idx="29">
                  <c:v>0.865398504739084</c:v>
                </c:pt>
                <c:pt idx="30">
                  <c:v>0.8653484496305274</c:v>
                </c:pt>
                <c:pt idx="31">
                  <c:v>0.8653682631109977</c:v>
                </c:pt>
                <c:pt idx="32">
                  <c:v>0.865295266077686</c:v>
                </c:pt>
                <c:pt idx="33">
                  <c:v>0.8654485598476405</c:v>
                </c:pt>
                <c:pt idx="34">
                  <c:v>0.8674434644865723</c:v>
                </c:pt>
                <c:pt idx="35">
                  <c:v>0.869152637880827</c:v>
                </c:pt>
                <c:pt idx="36">
                  <c:v>0.869157851954635</c:v>
                </c:pt>
                <c:pt idx="37">
                  <c:v>0.8692047786189068</c:v>
                </c:pt>
                <c:pt idx="38">
                  <c:v>0.8670232101376494</c:v>
                </c:pt>
                <c:pt idx="39">
                  <c:v>0.8654058044424151</c:v>
                </c:pt>
                <c:pt idx="40">
                  <c:v>0.8653620062224281</c:v>
                </c:pt>
                <c:pt idx="41">
                  <c:v>0.8674591067079962</c:v>
                </c:pt>
                <c:pt idx="42">
                  <c:v>0.8691296959560719</c:v>
                </c:pt>
                <c:pt idx="43">
                  <c:v>0.8689586743351703</c:v>
                </c:pt>
                <c:pt idx="44">
                  <c:v>0.8673350117513664</c:v>
                </c:pt>
                <c:pt idx="45">
                  <c:v>0.8653995475538455</c:v>
                </c:pt>
                <c:pt idx="46">
                  <c:v>0.8654370888852629</c:v>
                </c:pt>
                <c:pt idx="47">
                  <c:v>0.8654777586609652</c:v>
                </c:pt>
                <c:pt idx="48">
                  <c:v>0.8652493822281758</c:v>
                </c:pt>
                <c:pt idx="49">
                  <c:v>0.8653150795581563</c:v>
                </c:pt>
                <c:pt idx="50">
                  <c:v>0.8654099757014615</c:v>
                </c:pt>
                <c:pt idx="51">
                  <c:v>0.8653995475538455</c:v>
                </c:pt>
                <c:pt idx="52">
                  <c:v>0.8715126778207613</c:v>
                </c:pt>
                <c:pt idx="53">
                  <c:v>0.8715126778207613</c:v>
                </c:pt>
                <c:pt idx="54">
                  <c:v>0.8660784367892578</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0954297798889232"/>
          <c:min val="0.659488019280384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7541719253961576</c:v>
                </c:pt>
                <c:pt idx="1">
                  <c:v>0.7559419476968381</c:v>
                </c:pt>
                <c:pt idx="2">
                  <c:v>0.7567832854238239</c:v>
                </c:pt>
                <c:pt idx="3">
                  <c:v>0.7565028395148286</c:v>
                </c:pt>
                <c:pt idx="4">
                  <c:v>0.7581685598092834</c:v>
                </c:pt>
                <c:pt idx="5">
                  <c:v>0.7576777450567943</c:v>
                </c:pt>
                <c:pt idx="6">
                  <c:v>0.7580984434160707</c:v>
                </c:pt>
                <c:pt idx="7">
                  <c:v>0.7578880942364326</c:v>
                </c:pt>
                <c:pt idx="8">
                  <c:v>0.8151030710980228</c:v>
                </c:pt>
                <c:pt idx="9">
                  <c:v>0.8874710790156349</c:v>
                </c:pt>
                <c:pt idx="10">
                  <c:v>0.8904080774084981</c:v>
                </c:pt>
                <c:pt idx="11">
                  <c:v>0.8903379610152855</c:v>
                </c:pt>
                <c:pt idx="12">
                  <c:v>0.8900574954424345</c:v>
                </c:pt>
                <c:pt idx="13">
                  <c:v>0.8914598233066893</c:v>
                </c:pt>
                <c:pt idx="14">
                  <c:v>0.8906184265881364</c:v>
                </c:pt>
                <c:pt idx="15">
                  <c:v>0.890626095491832</c:v>
                </c:pt>
                <c:pt idx="16">
                  <c:v>0.8915299396999019</c:v>
                </c:pt>
                <c:pt idx="17">
                  <c:v>0.8908988921609873</c:v>
                </c:pt>
                <c:pt idx="18">
                  <c:v>0.8911092413406254</c:v>
                </c:pt>
                <c:pt idx="19">
                  <c:v>0.8913195905202638</c:v>
                </c:pt>
                <c:pt idx="20">
                  <c:v>0.8910391249474127</c:v>
                </c:pt>
                <c:pt idx="21">
                  <c:v>0.8912570987870716</c:v>
                </c:pt>
                <c:pt idx="22">
                  <c:v>0.897497020262217</c:v>
                </c:pt>
                <c:pt idx="23">
                  <c:v>0.9066049642406395</c:v>
                </c:pt>
                <c:pt idx="24">
                  <c:v>0.9040106576917684</c:v>
                </c:pt>
                <c:pt idx="25">
                  <c:v>0.9077969429252559</c:v>
                </c:pt>
                <c:pt idx="26">
                  <c:v>0.9071658953863414</c:v>
                </c:pt>
                <c:pt idx="27">
                  <c:v>0.906681623781813</c:v>
                </c:pt>
                <c:pt idx="28">
                  <c:v>0.9062543822745759</c:v>
                </c:pt>
                <c:pt idx="29">
                  <c:v>0.9056233347356613</c:v>
                </c:pt>
                <c:pt idx="30">
                  <c:v>0.9049922871967466</c:v>
                </c:pt>
                <c:pt idx="31">
                  <c:v>0.9066115123045643</c:v>
                </c:pt>
                <c:pt idx="32">
                  <c:v>0.9061842658813631</c:v>
                </c:pt>
                <c:pt idx="33">
                  <c:v>0.9054196171913343</c:v>
                </c:pt>
                <c:pt idx="34">
                  <c:v>0.905412985556023</c:v>
                </c:pt>
                <c:pt idx="35">
                  <c:v>0.9059038003085123</c:v>
                </c:pt>
                <c:pt idx="36">
                  <c:v>0.9056233347356613</c:v>
                </c:pt>
                <c:pt idx="37">
                  <c:v>0.9058402860548272</c:v>
                </c:pt>
                <c:pt idx="38">
                  <c:v>0.9061141494881504</c:v>
                </c:pt>
                <c:pt idx="39">
                  <c:v>0.9049288368505924</c:v>
                </c:pt>
                <c:pt idx="40">
                  <c:v>0.9050624035899594</c:v>
                </c:pt>
                <c:pt idx="41">
                  <c:v>0.906464731454214</c:v>
                </c:pt>
                <c:pt idx="42">
                  <c:v>0.9070957789931287</c:v>
                </c:pt>
                <c:pt idx="43">
                  <c:v>0.9092693871827233</c:v>
                </c:pt>
              </c:numCache>
            </c:numRef>
          </c:xVal>
          <c:yVal>
            <c:numRef>
              <c:f>Sheet1!$B$2:$B$45</c:f>
              <c:numCache>
                <c:formatCode>General</c:formatCode>
                <c:ptCount val="44"/>
                <c:pt idx="0">
                  <c:v>0.6881109077456288</c:v>
                </c:pt>
                <c:pt idx="1">
                  <c:v>0.7261505113211122</c:v>
                </c:pt>
                <c:pt idx="2">
                  <c:v>0.724431571526309</c:v>
                </c:pt>
                <c:pt idx="3">
                  <c:v>0.7267365863148159</c:v>
                </c:pt>
                <c:pt idx="4">
                  <c:v>0.7197749968484568</c:v>
                </c:pt>
                <c:pt idx="5">
                  <c:v>0.727657599989162</c:v>
                </c:pt>
                <c:pt idx="6">
                  <c:v>0.7191653219891447</c:v>
                </c:pt>
                <c:pt idx="7">
                  <c:v>0.693135414260195</c:v>
                </c:pt>
                <c:pt idx="8">
                  <c:v>0.70221836553899</c:v>
                </c:pt>
                <c:pt idx="9">
                  <c:v>0.7064212978717834</c:v>
                </c:pt>
                <c:pt idx="10">
                  <c:v>0.7130110290507296</c:v>
                </c:pt>
                <c:pt idx="11">
                  <c:v>0.7150755494505494</c:v>
                </c:pt>
                <c:pt idx="12">
                  <c:v>0.7146315619824225</c:v>
                </c:pt>
                <c:pt idx="13">
                  <c:v>0.7115306433580648</c:v>
                </c:pt>
                <c:pt idx="14">
                  <c:v>0.7117337198338671</c:v>
                </c:pt>
                <c:pt idx="15">
                  <c:v>0.7075897419770751</c:v>
                </c:pt>
                <c:pt idx="16">
                  <c:v>0.6982570590754835</c:v>
                </c:pt>
                <c:pt idx="17">
                  <c:v>0.7041884713829072</c:v>
                </c:pt>
                <c:pt idx="18">
                  <c:v>0.71100069657791</c:v>
                </c:pt>
                <c:pt idx="19">
                  <c:v>0.7266144189782874</c:v>
                </c:pt>
                <c:pt idx="20">
                  <c:v>0.7126819028750678</c:v>
                </c:pt>
                <c:pt idx="21">
                  <c:v>0.7084729064039409</c:v>
                </c:pt>
                <c:pt idx="22">
                  <c:v>0.6984909426316267</c:v>
                </c:pt>
                <c:pt idx="23">
                  <c:v>0.7092798757258572</c:v>
                </c:pt>
                <c:pt idx="24">
                  <c:v>0.7275988724694628</c:v>
                </c:pt>
                <c:pt idx="25">
                  <c:v>0.7223336330766076</c:v>
                </c:pt>
                <c:pt idx="26">
                  <c:v>0.6928567380531085</c:v>
                </c:pt>
                <c:pt idx="27">
                  <c:v>0.7052255306603774</c:v>
                </c:pt>
                <c:pt idx="28">
                  <c:v>0.7149387410490103</c:v>
                </c:pt>
                <c:pt idx="29">
                  <c:v>0.7076173153874136</c:v>
                </c:pt>
                <c:pt idx="30">
                  <c:v>0.7066387165486112</c:v>
                </c:pt>
                <c:pt idx="31">
                  <c:v>0.7098631565944247</c:v>
                </c:pt>
                <c:pt idx="32">
                  <c:v>0.7057835820895523</c:v>
                </c:pt>
                <c:pt idx="33">
                  <c:v>0.691427497056078</c:v>
                </c:pt>
                <c:pt idx="34">
                  <c:v>0.6962187440476582</c:v>
                </c:pt>
                <c:pt idx="35">
                  <c:v>0.7007461175207425</c:v>
                </c:pt>
                <c:pt idx="36">
                  <c:v>0.6890163648285915</c:v>
                </c:pt>
                <c:pt idx="37">
                  <c:v>0.7265061547638414</c:v>
                </c:pt>
                <c:pt idx="38">
                  <c:v>0.707248616986658</c:v>
                </c:pt>
                <c:pt idx="39">
                  <c:v>0.7080888629927234</c:v>
                </c:pt>
                <c:pt idx="40">
                  <c:v>0.7138107838654303</c:v>
                </c:pt>
                <c:pt idx="41">
                  <c:v>0.6979340334822063</c:v>
                </c:pt>
                <c:pt idx="42">
                  <c:v>0.7251850637476828</c:v>
                </c:pt>
                <c:pt idx="43">
                  <c:v>0.7198279939797892</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8862010938157342</c:v>
                </c:pt>
                <c:pt idx="1">
                  <c:v>0.9153053354834187</c:v>
                </c:pt>
                <c:pt idx="2">
                  <c:v>0.906331066395569</c:v>
                </c:pt>
                <c:pt idx="3">
                  <c:v>0.904150890478194</c:v>
                </c:pt>
                <c:pt idx="4">
                  <c:v>0.9317066330107979</c:v>
                </c:pt>
                <c:pt idx="5">
                  <c:v>0.9051325199831721</c:v>
                </c:pt>
                <c:pt idx="6">
                  <c:v>0.9095561943490149</c:v>
                </c:pt>
                <c:pt idx="7">
                  <c:v>0.9133361379890619</c:v>
                </c:pt>
                <c:pt idx="8">
                  <c:v>0.9113728789791055</c:v>
                </c:pt>
                <c:pt idx="9">
                  <c:v>0.9117296501437286</c:v>
                </c:pt>
                <c:pt idx="10">
                  <c:v>0.91123264619268</c:v>
                </c:pt>
                <c:pt idx="11">
                  <c:v>0.9122843920908709</c:v>
                </c:pt>
                <c:pt idx="12">
                  <c:v>0.9084344107130339</c:v>
                </c:pt>
                <c:pt idx="13">
                  <c:v>0.905412985556023</c:v>
                </c:pt>
                <c:pt idx="14">
                  <c:v>0.9088486888234469</c:v>
                </c:pt>
                <c:pt idx="15">
                  <c:v>0.9091992707895106</c:v>
                </c:pt>
                <c:pt idx="16">
                  <c:v>0.9085746336675314</c:v>
                </c:pt>
                <c:pt idx="17">
                  <c:v>0.9120100960527239</c:v>
                </c:pt>
                <c:pt idx="18">
                  <c:v>0.9104676435532497</c:v>
                </c:pt>
                <c:pt idx="19">
                  <c:v>0.9101871976442545</c:v>
                </c:pt>
                <c:pt idx="20">
                  <c:v>0.9118636937315945</c:v>
                </c:pt>
                <c:pt idx="21">
                  <c:v>0.9121503190072215</c:v>
                </c:pt>
                <c:pt idx="22">
                  <c:v>0.8967959054897287</c:v>
                </c:pt>
                <c:pt idx="23">
                  <c:v>0.9002944888514935</c:v>
                </c:pt>
                <c:pt idx="24">
                  <c:v>0.9009255363904081</c:v>
                </c:pt>
                <c:pt idx="25">
                  <c:v>0.9051325199831721</c:v>
                </c:pt>
                <c:pt idx="26">
                  <c:v>0.8416181728949029</c:v>
                </c:pt>
                <c:pt idx="27">
                  <c:v>0.844001963121363</c:v>
                </c:pt>
                <c:pt idx="28">
                  <c:v>0.8471569795975601</c:v>
                </c:pt>
                <c:pt idx="29">
                  <c:v>0.8496003365586875</c:v>
                </c:pt>
                <c:pt idx="30">
                  <c:v>0.8512130136025803</c:v>
                </c:pt>
                <c:pt idx="31">
                  <c:v>0.8496003365586875</c:v>
                </c:pt>
                <c:pt idx="32">
                  <c:v>0.8524049922871968</c:v>
                </c:pt>
                <c:pt idx="33">
                  <c:v>0.8493899873790492</c:v>
                </c:pt>
                <c:pt idx="34">
                  <c:v>0.8518544485732316</c:v>
                </c:pt>
                <c:pt idx="35">
                  <c:v>0.8486187070537091</c:v>
                </c:pt>
                <c:pt idx="36">
                  <c:v>0.84735661197588</c:v>
                </c:pt>
                <c:pt idx="37">
                  <c:v>0.8501717731192596</c:v>
                </c:pt>
                <c:pt idx="38">
                  <c:v>0.8458841677184126</c:v>
                </c:pt>
                <c:pt idx="39">
                  <c:v>0.8463048660776891</c:v>
                </c:pt>
                <c:pt idx="40">
                  <c:v>0.8435812942578701</c:v>
                </c:pt>
                <c:pt idx="41">
                  <c:v>0.8463857533478232</c:v>
                </c:pt>
                <c:pt idx="42">
                  <c:v>0.8475776484610532</c:v>
                </c:pt>
                <c:pt idx="43">
                  <c:v>0.8501612677043893</c:v>
                </c:pt>
                <c:pt idx="44">
                  <c:v>0.8463749824709018</c:v>
                </c:pt>
                <c:pt idx="45">
                  <c:v>0.8497511042557667</c:v>
                </c:pt>
                <c:pt idx="46">
                  <c:v>0.8496809927785179</c:v>
                </c:pt>
                <c:pt idx="47">
                  <c:v>0.8481980086944328</c:v>
                </c:pt>
                <c:pt idx="48">
                  <c:v>0.8472864955826672</c:v>
                </c:pt>
                <c:pt idx="49">
                  <c:v>0.8488290562333474</c:v>
                </c:pt>
                <c:pt idx="50">
                  <c:v>0.8481278923012201</c:v>
                </c:pt>
                <c:pt idx="51">
                  <c:v>0.8478474267283692</c:v>
                </c:pt>
              </c:numCache>
            </c:numRef>
          </c:xVal>
          <c:yVal>
            <c:numRef>
              <c:f>Sheet1!$B$48:$B$99</c:f>
              <c:numCache>
                <c:formatCode>General</c:formatCode>
                <c:ptCount val="52"/>
                <c:pt idx="0">
                  <c:v>0.6964528052349251</c:v>
                </c:pt>
                <c:pt idx="1">
                  <c:v>0.6874586190830397</c:v>
                </c:pt>
                <c:pt idx="2">
                  <c:v>0.7305664903432156</c:v>
                </c:pt>
                <c:pt idx="3">
                  <c:v>0.7456504693288484</c:v>
                </c:pt>
                <c:pt idx="4">
                  <c:v>0.6081580350378345</c:v>
                </c:pt>
                <c:pt idx="5">
                  <c:v>0.7053378005624403</c:v>
                </c:pt>
                <c:pt idx="6">
                  <c:v>0.699782749104574</c:v>
                </c:pt>
                <c:pt idx="7">
                  <c:v>0.6850212839724945</c:v>
                </c:pt>
                <c:pt idx="8">
                  <c:v>0.6760815089013549</c:v>
                </c:pt>
                <c:pt idx="9">
                  <c:v>0.6801298097309423</c:v>
                </c:pt>
                <c:pt idx="10">
                  <c:v>0.6796989276826895</c:v>
                </c:pt>
                <c:pt idx="11">
                  <c:v>0.6858784836420287</c:v>
                </c:pt>
                <c:pt idx="12">
                  <c:v>0.6976451939535668</c:v>
                </c:pt>
                <c:pt idx="13">
                  <c:v>0.6832230123222833</c:v>
                </c:pt>
                <c:pt idx="14">
                  <c:v>0.6694354478920822</c:v>
                </c:pt>
                <c:pt idx="15">
                  <c:v>0.6723666742111255</c:v>
                </c:pt>
                <c:pt idx="16">
                  <c:v>0.6853511193553709</c:v>
                </c:pt>
                <c:pt idx="17">
                  <c:v>0.677338341352832</c:v>
                </c:pt>
                <c:pt idx="18">
                  <c:v>0.690587891113782</c:v>
                </c:pt>
                <c:pt idx="19">
                  <c:v>0.6912381365053185</c:v>
                </c:pt>
                <c:pt idx="20">
                  <c:v>0.6765637525116445</c:v>
                </c:pt>
                <c:pt idx="21">
                  <c:v>0.6629579542660438</c:v>
                </c:pt>
                <c:pt idx="22">
                  <c:v>0.6637449213919803</c:v>
                </c:pt>
                <c:pt idx="23">
                  <c:v>0.6803772493924785</c:v>
                </c:pt>
                <c:pt idx="24">
                  <c:v>0.6751516694242926</c:v>
                </c:pt>
                <c:pt idx="25">
                  <c:v>0.6642111434731626</c:v>
                </c:pt>
                <c:pt idx="26">
                  <c:v>0.6879633289310055</c:v>
                </c:pt>
                <c:pt idx="27">
                  <c:v>0.672873519096889</c:v>
                </c:pt>
                <c:pt idx="28">
                  <c:v>0.6792998829290814</c:v>
                </c:pt>
                <c:pt idx="29">
                  <c:v>0.6606679182642655</c:v>
                </c:pt>
                <c:pt idx="30">
                  <c:v>0.6832448976771822</c:v>
                </c:pt>
                <c:pt idx="31">
                  <c:v>0.6703802193768572</c:v>
                </c:pt>
                <c:pt idx="32">
                  <c:v>0.7053250927933076</c:v>
                </c:pt>
                <c:pt idx="33">
                  <c:v>0.6876186684068294</c:v>
                </c:pt>
                <c:pt idx="34">
                  <c:v>0.6720467196724282</c:v>
                </c:pt>
                <c:pt idx="35">
                  <c:v>0.6644569060713862</c:v>
                </c:pt>
                <c:pt idx="36">
                  <c:v>0.6822269218204638</c:v>
                </c:pt>
                <c:pt idx="37">
                  <c:v>0.6916487889327226</c:v>
                </c:pt>
                <c:pt idx="38">
                  <c:v>0.666102885272097</c:v>
                </c:pt>
                <c:pt idx="39">
                  <c:v>0.6671077764704084</c:v>
                </c:pt>
                <c:pt idx="40">
                  <c:v>0.6811507536708548</c:v>
                </c:pt>
                <c:pt idx="41">
                  <c:v>0.6623908141804195</c:v>
                </c:pt>
                <c:pt idx="42">
                  <c:v>0.6721093932197488</c:v>
                </c:pt>
                <c:pt idx="43">
                  <c:v>0.6908234130644959</c:v>
                </c:pt>
                <c:pt idx="44">
                  <c:v>0.6781691654236088</c:v>
                </c:pt>
                <c:pt idx="45">
                  <c:v>0.6738311411917417</c:v>
                </c:pt>
                <c:pt idx="46">
                  <c:v>0.6793787535352567</c:v>
                </c:pt>
                <c:pt idx="47">
                  <c:v>0.6656753658941843</c:v>
                </c:pt>
                <c:pt idx="48">
                  <c:v>0.6860609173868375</c:v>
                </c:pt>
                <c:pt idx="49">
                  <c:v>0.6787604342844672</c:v>
                </c:pt>
                <c:pt idx="50">
                  <c:v>0.6942860762701127</c:v>
                </c:pt>
                <c:pt idx="51">
                  <c:v>0.6856468048293127</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8057639568500496</c:v>
                </c:pt>
              </c:numCache>
            </c:numRef>
          </c:xVal>
          <c:yVal>
            <c:numRef>
              <c:f>Sheet1!$B$102:$B$103</c:f>
              <c:numCache>
                <c:formatCode>General</c:formatCode>
                <c:ptCount val="2"/>
                <c:pt idx="0">
                  <c:v>0.7170409147512645</c:v>
                </c:pt>
                <c:pt idx="1">
                  <c:v>0.717040914751264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8057639568500496</c:v>
                </c:pt>
                <c:pt idx="1">
                  <c:v>1.8057639568500496</c:v>
                </c:pt>
              </c:numCache>
            </c:numRef>
          </c:xVal>
          <c:yVal>
            <c:numRef>
              <c:f>Sheet1!$B$106:$B$107</c:f>
              <c:numCache>
                <c:formatCode>General</c:formatCode>
                <c:ptCount val="2"/>
                <c:pt idx="0">
                  <c:v>0.71704091475126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1262596701794338</c:v>
                </c:pt>
              </c:numCache>
            </c:numRef>
          </c:xVal>
          <c:yVal>
            <c:numRef>
              <c:f>Sheet1!$B$110:$B$111</c:f>
              <c:numCache>
                <c:formatCode>General</c:formatCode>
                <c:ptCount val="2"/>
                <c:pt idx="0">
                  <c:v>0.6906047828136888</c:v>
                </c:pt>
                <c:pt idx="1">
                  <c:v>0.6906047828136888</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1262596701794338</c:v>
                </c:pt>
                <c:pt idx="1">
                  <c:v>1.1262596701794338</c:v>
                </c:pt>
              </c:numCache>
            </c:numRef>
          </c:xVal>
          <c:yVal>
            <c:numRef>
              <c:f>Sheet1!$B$114:$B$115</c:f>
              <c:numCache>
                <c:formatCode>General</c:formatCode>
                <c:ptCount val="2"/>
                <c:pt idx="0">
                  <c:v>0.69060478281368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050210344633609</c:v>
                </c:pt>
              </c:numCache>
            </c:numRef>
          </c:xVal>
          <c:yVal>
            <c:numRef>
              <c:f>Sheet1!$B$118:$B$119</c:f>
              <c:numCache>
                <c:formatCode>General</c:formatCode>
                <c:ptCount val="2"/>
                <c:pt idx="0">
                  <c:v>0.6781069853401115</c:v>
                </c:pt>
                <c:pt idx="1">
                  <c:v>0.6781069853401115</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050210344633609</c:v>
                </c:pt>
                <c:pt idx="1">
                  <c:v>0.8050210344633609</c:v>
                </c:pt>
              </c:numCache>
            </c:numRef>
          </c:xVal>
          <c:yVal>
            <c:numRef>
              <c:f>Sheet1!$B$122:$B$123</c:f>
              <c:numCache>
                <c:formatCode>General</c:formatCode>
                <c:ptCount val="2"/>
                <c:pt idx="0">
                  <c:v>0.67810698534011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8862010938157342</c:v>
                </c:pt>
                <c:pt idx="1">
                  <c:v>0.9153053354834187</c:v>
                </c:pt>
                <c:pt idx="2">
                  <c:v>0.906331066395569</c:v>
                </c:pt>
                <c:pt idx="3">
                  <c:v>0.904150890478194</c:v>
                </c:pt>
                <c:pt idx="4">
                  <c:v>0.9317066330107979</c:v>
                </c:pt>
                <c:pt idx="5">
                  <c:v>0.9051325199831721</c:v>
                </c:pt>
                <c:pt idx="6">
                  <c:v>0.9095561943490149</c:v>
                </c:pt>
                <c:pt idx="7">
                  <c:v>0.9133361379890619</c:v>
                </c:pt>
                <c:pt idx="8">
                  <c:v>0.9113728789791055</c:v>
                </c:pt>
                <c:pt idx="9">
                  <c:v>0.9117296501437286</c:v>
                </c:pt>
                <c:pt idx="10">
                  <c:v>0.91123264619268</c:v>
                </c:pt>
                <c:pt idx="11">
                  <c:v>0.9122843920908709</c:v>
                </c:pt>
                <c:pt idx="12">
                  <c:v>0.9084344107130339</c:v>
                </c:pt>
                <c:pt idx="13">
                  <c:v>0.905412985556023</c:v>
                </c:pt>
                <c:pt idx="14">
                  <c:v>0.9088486888234469</c:v>
                </c:pt>
                <c:pt idx="15">
                  <c:v>0.9091992707895106</c:v>
                </c:pt>
                <c:pt idx="16">
                  <c:v>0.9085746336675314</c:v>
                </c:pt>
                <c:pt idx="17">
                  <c:v>0.9120100960527239</c:v>
                </c:pt>
                <c:pt idx="18">
                  <c:v>0.9104676435532497</c:v>
                </c:pt>
                <c:pt idx="19">
                  <c:v>0.9101871976442545</c:v>
                </c:pt>
                <c:pt idx="20">
                  <c:v>0.9118636937315945</c:v>
                </c:pt>
                <c:pt idx="21">
                  <c:v>0.9121503190072215</c:v>
                </c:pt>
                <c:pt idx="22">
                  <c:v>0.8967959054897287</c:v>
                </c:pt>
                <c:pt idx="23">
                  <c:v>0.9002944888514935</c:v>
                </c:pt>
                <c:pt idx="24">
                  <c:v>0.9009255363904081</c:v>
                </c:pt>
                <c:pt idx="25">
                  <c:v>0.9051325199831721</c:v>
                </c:pt>
                <c:pt idx="26">
                  <c:v>0.8416181728949029</c:v>
                </c:pt>
                <c:pt idx="27">
                  <c:v>0.844001963121363</c:v>
                </c:pt>
                <c:pt idx="28">
                  <c:v>0.8471569795975601</c:v>
                </c:pt>
                <c:pt idx="29">
                  <c:v>0.8496003365586875</c:v>
                </c:pt>
                <c:pt idx="30">
                  <c:v>0.8512130136025803</c:v>
                </c:pt>
                <c:pt idx="31">
                  <c:v>0.8496003365586875</c:v>
                </c:pt>
                <c:pt idx="32">
                  <c:v>0.8524049922871968</c:v>
                </c:pt>
                <c:pt idx="33">
                  <c:v>0.8493899873790492</c:v>
                </c:pt>
                <c:pt idx="34">
                  <c:v>0.8518544485732316</c:v>
                </c:pt>
                <c:pt idx="35">
                  <c:v>0.8486187070537091</c:v>
                </c:pt>
                <c:pt idx="36">
                  <c:v>0.84735661197588</c:v>
                </c:pt>
                <c:pt idx="37">
                  <c:v>0.8501717731192596</c:v>
                </c:pt>
                <c:pt idx="38">
                  <c:v>0.8458841677184126</c:v>
                </c:pt>
                <c:pt idx="39">
                  <c:v>0.8463048660776891</c:v>
                </c:pt>
                <c:pt idx="40">
                  <c:v>0.8435812942578701</c:v>
                </c:pt>
                <c:pt idx="41">
                  <c:v>0.8463857533478232</c:v>
                </c:pt>
                <c:pt idx="42">
                  <c:v>0.8475776484610532</c:v>
                </c:pt>
                <c:pt idx="43">
                  <c:v>0.8501612677043893</c:v>
                </c:pt>
                <c:pt idx="44">
                  <c:v>0.8463749824709018</c:v>
                </c:pt>
                <c:pt idx="45">
                  <c:v>0.8497511042557667</c:v>
                </c:pt>
                <c:pt idx="46">
                  <c:v>0.8496809927785179</c:v>
                </c:pt>
                <c:pt idx="47">
                  <c:v>0.8481980086944328</c:v>
                </c:pt>
                <c:pt idx="48">
                  <c:v>0.8472864955826672</c:v>
                </c:pt>
                <c:pt idx="49">
                  <c:v>0.8488290562333474</c:v>
                </c:pt>
                <c:pt idx="50">
                  <c:v>0.8481278923012201</c:v>
                </c:pt>
                <c:pt idx="51">
                  <c:v>0.8478474267283692</c:v>
                </c:pt>
                <c:pt idx="52">
                  <c:v>1.1262596701794338</c:v>
                </c:pt>
                <c:pt idx="53">
                  <c:v>1.8057639568500496</c:v>
                </c:pt>
                <c:pt idx="54">
                  <c:v>0.8050210344633609</c:v>
                </c:pt>
              </c:numCache>
            </c:numRef>
          </c:xVal>
          <c:yVal>
            <c:numRef>
              <c:f>Sheet1!$B$126:$B$180</c:f>
              <c:numCache>
                <c:formatCode>General</c:formatCode>
                <c:ptCount val="55"/>
                <c:pt idx="0">
                  <c:v>0.6812652976596036</c:v>
                </c:pt>
                <c:pt idx="1">
                  <c:v>0.6823975989382901</c:v>
                </c:pt>
                <c:pt idx="2">
                  <c:v>0.6820484547661287</c:v>
                </c:pt>
                <c:pt idx="3">
                  <c:v>0.6819636349653866</c:v>
                </c:pt>
                <c:pt idx="4">
                  <c:v>0.6830356918449672</c:v>
                </c:pt>
                <c:pt idx="5">
                  <c:v>0.6820018252867965</c:v>
                </c:pt>
                <c:pt idx="6">
                  <c:v>0.6821739284529992</c:v>
                </c:pt>
                <c:pt idx="7">
                  <c:v>0.68232098725858</c:v>
                </c:pt>
                <c:pt idx="8">
                  <c:v>0.6822446066157601</c:v>
                </c:pt>
                <c:pt idx="9">
                  <c:v>0.6822584868071945</c:v>
                </c:pt>
                <c:pt idx="10">
                  <c:v>0.6822391508555586</c:v>
                </c:pt>
                <c:pt idx="11">
                  <c:v>0.6822800690570694</c:v>
                </c:pt>
                <c:pt idx="12">
                  <c:v>0.682130285431479</c:v>
                </c:pt>
                <c:pt idx="13">
                  <c:v>0.6820127368071994</c:v>
                </c:pt>
                <c:pt idx="14">
                  <c:v>0.6821464029321344</c:v>
                </c:pt>
                <c:pt idx="15">
                  <c:v>0.6821600423326379</c:v>
                </c:pt>
                <c:pt idx="16">
                  <c:v>0.682135740809169</c:v>
                </c:pt>
                <c:pt idx="17">
                  <c:v>0.6822693975625745</c:v>
                </c:pt>
                <c:pt idx="18">
                  <c:v>0.6822093884079843</c:v>
                </c:pt>
                <c:pt idx="19">
                  <c:v>0.6821984776526043</c:v>
                </c:pt>
                <c:pt idx="20">
                  <c:v>0.6822637017764651</c:v>
                </c:pt>
                <c:pt idx="21">
                  <c:v>0.6822748529402646</c:v>
                </c:pt>
                <c:pt idx="22">
                  <c:v>0.6816774890832072</c:v>
                </c:pt>
                <c:pt idx="23">
                  <c:v>0.6818136015598473</c:v>
                </c:pt>
                <c:pt idx="24">
                  <c:v>0.6818381524807536</c:v>
                </c:pt>
                <c:pt idx="25">
                  <c:v>0.6820018252867965</c:v>
                </c:pt>
                <c:pt idx="26">
                  <c:v>0.679530797962184</c:v>
                </c:pt>
                <c:pt idx="27">
                  <c:v>0.6796235393829143</c:v>
                </c:pt>
                <c:pt idx="28">
                  <c:v>0.6797462853809397</c:v>
                </c:pt>
                <c:pt idx="29">
                  <c:v>0.6798413442470309</c:v>
                </c:pt>
                <c:pt idx="30">
                  <c:v>0.6799040854893473</c:v>
                </c:pt>
                <c:pt idx="31">
                  <c:v>0.6798413442470309</c:v>
                </c:pt>
                <c:pt idx="32">
                  <c:v>0.6799504594510595</c:v>
                </c:pt>
                <c:pt idx="33">
                  <c:v>0.6798331606067287</c:v>
                </c:pt>
                <c:pt idx="34">
                  <c:v>0.6799290405335555</c:v>
                </c:pt>
                <c:pt idx="35">
                  <c:v>0.6798031539256209</c:v>
                </c:pt>
                <c:pt idx="36">
                  <c:v>0.679754052083808</c:v>
                </c:pt>
                <c:pt idx="37">
                  <c:v>0.6798635760012752</c:v>
                </c:pt>
                <c:pt idx="38">
                  <c:v>0.6796967666016931</c:v>
                </c:pt>
                <c:pt idx="39">
                  <c:v>0.6797131338822974</c:v>
                </c:pt>
                <c:pt idx="40">
                  <c:v>0.6796071732498442</c:v>
                </c:pt>
                <c:pt idx="41">
                  <c:v>0.6797162808036447</c:v>
                </c:pt>
                <c:pt idx="42">
                  <c:v>0.6797626515140098</c:v>
                </c:pt>
                <c:pt idx="43">
                  <c:v>0.6798631672878366</c:v>
                </c:pt>
                <c:pt idx="44">
                  <c:v>0.6797158617623981</c:v>
                </c:pt>
                <c:pt idx="45">
                  <c:v>0.6798472098682051</c:v>
                </c:pt>
                <c:pt idx="46">
                  <c:v>0.6798444821793602</c:v>
                </c:pt>
                <c:pt idx="47">
                  <c:v>0.6797867866450166</c:v>
                </c:pt>
                <c:pt idx="48">
                  <c:v>0.6797513242037073</c:v>
                </c:pt>
                <c:pt idx="49">
                  <c:v>0.679811337565923</c:v>
                </c:pt>
                <c:pt idx="50">
                  <c:v>0.6797840587649159</c:v>
                </c:pt>
                <c:pt idx="51">
                  <c:v>0.679773147244513</c:v>
                </c:pt>
                <c:pt idx="52">
                  <c:v>0.6906047828136888</c:v>
                </c:pt>
                <c:pt idx="53">
                  <c:v>0.7170409147512645</c:v>
                </c:pt>
                <c:pt idx="54">
                  <c:v>0.67810698534011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47805631946181"/>
          <c:min val="0.486526428030267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6881109077456288</c:v>
                </c:pt>
                <c:pt idx="1">
                  <c:v>0.7261505113211122</c:v>
                </c:pt>
                <c:pt idx="2">
                  <c:v>0.724431571526309</c:v>
                </c:pt>
                <c:pt idx="3">
                  <c:v>0.7267365863148159</c:v>
                </c:pt>
                <c:pt idx="4">
                  <c:v>0.7197749968484568</c:v>
                </c:pt>
                <c:pt idx="5">
                  <c:v>0.727657599989162</c:v>
                </c:pt>
                <c:pt idx="6">
                  <c:v>0.7191653219891447</c:v>
                </c:pt>
                <c:pt idx="7">
                  <c:v>0.693135414260195</c:v>
                </c:pt>
                <c:pt idx="8">
                  <c:v>0.70221836553899</c:v>
                </c:pt>
                <c:pt idx="9">
                  <c:v>0.7064212978717834</c:v>
                </c:pt>
                <c:pt idx="10">
                  <c:v>0.7130110290507296</c:v>
                </c:pt>
                <c:pt idx="11">
                  <c:v>0.7150755494505494</c:v>
                </c:pt>
                <c:pt idx="12">
                  <c:v>0.7146315619824225</c:v>
                </c:pt>
                <c:pt idx="13">
                  <c:v>0.7115306433580648</c:v>
                </c:pt>
                <c:pt idx="14">
                  <c:v>0.7117337198338671</c:v>
                </c:pt>
                <c:pt idx="15">
                  <c:v>0.7075897419770751</c:v>
                </c:pt>
                <c:pt idx="16">
                  <c:v>0.6982570590754835</c:v>
                </c:pt>
                <c:pt idx="17">
                  <c:v>0.7041884713829072</c:v>
                </c:pt>
                <c:pt idx="18">
                  <c:v>0.71100069657791</c:v>
                </c:pt>
                <c:pt idx="19">
                  <c:v>0.7266144189782874</c:v>
                </c:pt>
                <c:pt idx="20">
                  <c:v>0.7126819028750678</c:v>
                </c:pt>
                <c:pt idx="21">
                  <c:v>0.7084729064039409</c:v>
                </c:pt>
                <c:pt idx="22">
                  <c:v>0.6984909426316267</c:v>
                </c:pt>
                <c:pt idx="23">
                  <c:v>0.7092798757258572</c:v>
                </c:pt>
                <c:pt idx="24">
                  <c:v>0.7275988724694628</c:v>
                </c:pt>
                <c:pt idx="25">
                  <c:v>0.7223336330766076</c:v>
                </c:pt>
                <c:pt idx="26">
                  <c:v>0.6928567380531085</c:v>
                </c:pt>
                <c:pt idx="27">
                  <c:v>0.7052255306603774</c:v>
                </c:pt>
                <c:pt idx="28">
                  <c:v>0.7149387410490103</c:v>
                </c:pt>
                <c:pt idx="29">
                  <c:v>0.7076173153874136</c:v>
                </c:pt>
                <c:pt idx="30">
                  <c:v>0.7066387165486112</c:v>
                </c:pt>
                <c:pt idx="31">
                  <c:v>0.7098631565944247</c:v>
                </c:pt>
                <c:pt idx="32">
                  <c:v>0.7057835820895523</c:v>
                </c:pt>
                <c:pt idx="33">
                  <c:v>0.691427497056078</c:v>
                </c:pt>
                <c:pt idx="34">
                  <c:v>0.6962187440476582</c:v>
                </c:pt>
                <c:pt idx="35">
                  <c:v>0.7007461175207425</c:v>
                </c:pt>
                <c:pt idx="36">
                  <c:v>0.6890163648285915</c:v>
                </c:pt>
                <c:pt idx="37">
                  <c:v>0.7265061547638414</c:v>
                </c:pt>
                <c:pt idx="38">
                  <c:v>0.707248616986658</c:v>
                </c:pt>
                <c:pt idx="39">
                  <c:v>0.7080888629927234</c:v>
                </c:pt>
                <c:pt idx="40">
                  <c:v>0.7138107838654303</c:v>
                </c:pt>
                <c:pt idx="41">
                  <c:v>0.6979340334822063</c:v>
                </c:pt>
                <c:pt idx="42">
                  <c:v>0.7251850637476828</c:v>
                </c:pt>
                <c:pt idx="43">
                  <c:v>0.7198279939797892</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6964528052349251</c:v>
                </c:pt>
                <c:pt idx="1">
                  <c:v>0.6874586190830397</c:v>
                </c:pt>
                <c:pt idx="2">
                  <c:v>0.7305664903432156</c:v>
                </c:pt>
                <c:pt idx="3">
                  <c:v>0.7456504693288484</c:v>
                </c:pt>
                <c:pt idx="4">
                  <c:v>0.6081580350378345</c:v>
                </c:pt>
                <c:pt idx="5">
                  <c:v>0.7053378005624403</c:v>
                </c:pt>
                <c:pt idx="6">
                  <c:v>0.699782749104574</c:v>
                </c:pt>
                <c:pt idx="7">
                  <c:v>0.6850212839724945</c:v>
                </c:pt>
                <c:pt idx="8">
                  <c:v>0.6760815089013549</c:v>
                </c:pt>
                <c:pt idx="9">
                  <c:v>0.6801298097309423</c:v>
                </c:pt>
                <c:pt idx="10">
                  <c:v>0.6796989276826895</c:v>
                </c:pt>
                <c:pt idx="11">
                  <c:v>0.6858784836420287</c:v>
                </c:pt>
                <c:pt idx="12">
                  <c:v>0.6976451939535668</c:v>
                </c:pt>
                <c:pt idx="13">
                  <c:v>0.6832230123222833</c:v>
                </c:pt>
                <c:pt idx="14">
                  <c:v>0.6694354478920822</c:v>
                </c:pt>
                <c:pt idx="15">
                  <c:v>0.6723666742111255</c:v>
                </c:pt>
                <c:pt idx="16">
                  <c:v>0.6853511193553709</c:v>
                </c:pt>
                <c:pt idx="17">
                  <c:v>0.677338341352832</c:v>
                </c:pt>
                <c:pt idx="18">
                  <c:v>0.690587891113782</c:v>
                </c:pt>
                <c:pt idx="19">
                  <c:v>0.6912381365053185</c:v>
                </c:pt>
                <c:pt idx="20">
                  <c:v>0.6765637525116445</c:v>
                </c:pt>
                <c:pt idx="21">
                  <c:v>0.6629579542660438</c:v>
                </c:pt>
                <c:pt idx="22">
                  <c:v>0.6637449213919803</c:v>
                </c:pt>
                <c:pt idx="23">
                  <c:v>0.6803772493924785</c:v>
                </c:pt>
                <c:pt idx="24">
                  <c:v>0.6751516694242926</c:v>
                </c:pt>
                <c:pt idx="25">
                  <c:v>0.6642111434731626</c:v>
                </c:pt>
                <c:pt idx="26">
                  <c:v>0.6879633289310055</c:v>
                </c:pt>
                <c:pt idx="27">
                  <c:v>0.672873519096889</c:v>
                </c:pt>
                <c:pt idx="28">
                  <c:v>0.6792998829290814</c:v>
                </c:pt>
                <c:pt idx="29">
                  <c:v>0.6606679182642655</c:v>
                </c:pt>
                <c:pt idx="30">
                  <c:v>0.6832448976771822</c:v>
                </c:pt>
                <c:pt idx="31">
                  <c:v>0.6703802193768572</c:v>
                </c:pt>
                <c:pt idx="32">
                  <c:v>0.7053250927933076</c:v>
                </c:pt>
                <c:pt idx="33">
                  <c:v>0.6876186684068294</c:v>
                </c:pt>
                <c:pt idx="34">
                  <c:v>0.6720467196724282</c:v>
                </c:pt>
                <c:pt idx="35">
                  <c:v>0.6644569060713862</c:v>
                </c:pt>
                <c:pt idx="36">
                  <c:v>0.6822269218204638</c:v>
                </c:pt>
                <c:pt idx="37">
                  <c:v>0.6916487889327226</c:v>
                </c:pt>
                <c:pt idx="38">
                  <c:v>0.666102885272097</c:v>
                </c:pt>
                <c:pt idx="39">
                  <c:v>0.6671077764704084</c:v>
                </c:pt>
                <c:pt idx="40">
                  <c:v>0.6811507536708548</c:v>
                </c:pt>
                <c:pt idx="41">
                  <c:v>0.6623908141804195</c:v>
                </c:pt>
                <c:pt idx="42">
                  <c:v>0.6721093932197488</c:v>
                </c:pt>
                <c:pt idx="43">
                  <c:v>0.6908234130644959</c:v>
                </c:pt>
                <c:pt idx="44">
                  <c:v>0.6781691654236088</c:v>
                </c:pt>
                <c:pt idx="45">
                  <c:v>0.6738311411917417</c:v>
                </c:pt>
                <c:pt idx="46">
                  <c:v>0.6793787535352567</c:v>
                </c:pt>
                <c:pt idx="47">
                  <c:v>0.6656753658941843</c:v>
                </c:pt>
                <c:pt idx="48">
                  <c:v>0.6860609173868375</c:v>
                </c:pt>
                <c:pt idx="49">
                  <c:v>0.6787604342844672</c:v>
                </c:pt>
                <c:pt idx="50">
                  <c:v>0.6942860762701127</c:v>
                </c:pt>
                <c:pt idx="51">
                  <c:v>0.6856468048293127</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73743809826304</c:v>
                </c:pt>
              </c:numCache>
            </c:numRef>
          </c:xVal>
          <c:yVal>
            <c:numRef>
              <c:f>Sheet1!$B$102:$B$103</c:f>
              <c:numCache>
                <c:formatCode>General</c:formatCode>
                <c:ptCount val="2"/>
                <c:pt idx="0">
                  <c:v>0.7170409147512645</c:v>
                </c:pt>
                <c:pt idx="1">
                  <c:v>0.717040914751264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73743809826304</c:v>
                </c:pt>
                <c:pt idx="1">
                  <c:v>2.573743809826304</c:v>
                </c:pt>
              </c:numCache>
            </c:numRef>
          </c:xVal>
          <c:yVal>
            <c:numRef>
              <c:f>Sheet1!$B$106:$B$107</c:f>
              <c:numCache>
                <c:formatCode>General</c:formatCode>
                <c:ptCount val="2"/>
                <c:pt idx="0">
                  <c:v>0.71704091475126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605859880407381</c:v>
                </c:pt>
              </c:numCache>
            </c:numRef>
          </c:xVal>
          <c:yVal>
            <c:numRef>
              <c:f>Sheet1!$B$110:$B$111</c:f>
              <c:numCache>
                <c:formatCode>General</c:formatCode>
                <c:ptCount val="2"/>
                <c:pt idx="0">
                  <c:v>0.6906047828136888</c:v>
                </c:pt>
                <c:pt idx="1">
                  <c:v>0.6906047828136888</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05859880407381</c:v>
                </c:pt>
                <c:pt idx="1">
                  <c:v>1.605859880407381</c:v>
                </c:pt>
              </c:numCache>
            </c:numRef>
          </c:xVal>
          <c:yVal>
            <c:numRef>
              <c:f>Sheet1!$B$114:$B$115</c:f>
              <c:numCache>
                <c:formatCode>General</c:formatCode>
                <c:ptCount val="2"/>
                <c:pt idx="0">
                  <c:v>0.69060478281368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482885020994122</c:v>
                </c:pt>
              </c:numCache>
            </c:numRef>
          </c:xVal>
          <c:yVal>
            <c:numRef>
              <c:f>Sheet1!$B$118:$B$119</c:f>
              <c:numCache>
                <c:formatCode>General</c:formatCode>
                <c:ptCount val="2"/>
                <c:pt idx="0">
                  <c:v>0.6781069853401115</c:v>
                </c:pt>
                <c:pt idx="1">
                  <c:v>0.6781069853401115</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482885020994122</c:v>
                </c:pt>
                <c:pt idx="1">
                  <c:v>1.1482885020994122</c:v>
                </c:pt>
              </c:numCache>
            </c:numRef>
          </c:xVal>
          <c:yVal>
            <c:numRef>
              <c:f>Sheet1!$B$122:$B$123</c:f>
              <c:numCache>
                <c:formatCode>General</c:formatCode>
                <c:ptCount val="2"/>
                <c:pt idx="0">
                  <c:v>0.67810698534011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605859880407381</c:v>
                </c:pt>
                <c:pt idx="53">
                  <c:v>2.573743809826304</c:v>
                </c:pt>
                <c:pt idx="54">
                  <c:v>1.1482885020994122</c:v>
                </c:pt>
              </c:numCache>
            </c:numRef>
          </c:xVal>
          <c:yVal>
            <c:numRef>
              <c:f>Sheet1!$B$126:$B$180</c:f>
              <c:numCache>
                <c:formatCode>General</c:formatCode>
                <c:ptCount val="55"/>
                <c:pt idx="0">
                  <c:v>0.6812647201873422</c:v>
                </c:pt>
                <c:pt idx="1">
                  <c:v>0.6824009546625477</c:v>
                </c:pt>
                <c:pt idx="2">
                  <c:v>0.6820513440547922</c:v>
                </c:pt>
                <c:pt idx="3">
                  <c:v>0.6819639414028532</c:v>
                </c:pt>
                <c:pt idx="4">
                  <c:v>0.6830373552219777</c:v>
                </c:pt>
                <c:pt idx="5">
                  <c:v>0.6820021800630766</c:v>
                </c:pt>
                <c:pt idx="6">
                  <c:v>0.6821769853669543</c:v>
                </c:pt>
                <c:pt idx="7">
                  <c:v>0.6823217460092281</c:v>
                </c:pt>
                <c:pt idx="8">
                  <c:v>0.6822452686887815</c:v>
                </c:pt>
                <c:pt idx="9">
                  <c:v>0.6822616566860201</c:v>
                </c:pt>
                <c:pt idx="10">
                  <c:v>0.6822398060230354</c:v>
                </c:pt>
                <c:pt idx="11">
                  <c:v>0.6822807760161317</c:v>
                </c:pt>
                <c:pt idx="12">
                  <c:v>0.6821332840409848</c:v>
                </c:pt>
                <c:pt idx="13">
                  <c:v>0.6820131053945688</c:v>
                </c:pt>
                <c:pt idx="14">
                  <c:v>0.6821469407053503</c:v>
                </c:pt>
                <c:pt idx="15">
                  <c:v>0.6821605973697158</c:v>
                </c:pt>
                <c:pt idx="16">
                  <c:v>0.682138746706731</c:v>
                </c:pt>
                <c:pt idx="17">
                  <c:v>0.6822725820175124</c:v>
                </c:pt>
                <c:pt idx="18">
                  <c:v>0.6822124926943045</c:v>
                </c:pt>
                <c:pt idx="19">
                  <c:v>0.6822015673628121</c:v>
                </c:pt>
                <c:pt idx="20">
                  <c:v>0.6822643880188932</c:v>
                </c:pt>
                <c:pt idx="21">
                  <c:v>0.6822780446832586</c:v>
                </c:pt>
                <c:pt idx="22">
                  <c:v>0.6816798827840519</c:v>
                </c:pt>
                <c:pt idx="23">
                  <c:v>0.6818137180948333</c:v>
                </c:pt>
                <c:pt idx="24">
                  <c:v>0.6818383000906911</c:v>
                </c:pt>
                <c:pt idx="25">
                  <c:v>0.6820021800630766</c:v>
                </c:pt>
                <c:pt idx="26">
                  <c:v>0.6795303238129299</c:v>
                </c:pt>
                <c:pt idx="27">
                  <c:v>0.679623189130615</c:v>
                </c:pt>
                <c:pt idx="28">
                  <c:v>0.679746099109904</c:v>
                </c:pt>
                <c:pt idx="29">
                  <c:v>0.6798389644275891</c:v>
                </c:pt>
                <c:pt idx="30">
                  <c:v>0.6799017850836702</c:v>
                </c:pt>
                <c:pt idx="31">
                  <c:v>0.6798389644275891</c:v>
                </c:pt>
                <c:pt idx="32">
                  <c:v>0.6799482177425127</c:v>
                </c:pt>
                <c:pt idx="33">
                  <c:v>0.6798307704289699</c:v>
                </c:pt>
                <c:pt idx="34">
                  <c:v>0.6799290984124011</c:v>
                </c:pt>
                <c:pt idx="35">
                  <c:v>0.6798007257673658</c:v>
                </c:pt>
                <c:pt idx="36">
                  <c:v>0.6797515617756502</c:v>
                </c:pt>
                <c:pt idx="37">
                  <c:v>0.6798635464234469</c:v>
                </c:pt>
                <c:pt idx="38">
                  <c:v>0.6796942037853153</c:v>
                </c:pt>
                <c:pt idx="39">
                  <c:v>0.6797105917825539</c:v>
                </c:pt>
                <c:pt idx="40">
                  <c:v>0.6796068011333765</c:v>
                </c:pt>
                <c:pt idx="41">
                  <c:v>0.6797160544483001</c:v>
                </c:pt>
                <c:pt idx="42">
                  <c:v>0.6797624871071426</c:v>
                </c:pt>
                <c:pt idx="43">
                  <c:v>0.6798608150905738</c:v>
                </c:pt>
                <c:pt idx="44">
                  <c:v>0.679713323115427</c:v>
                </c:pt>
                <c:pt idx="45">
                  <c:v>0.6798471584262084</c:v>
                </c:pt>
                <c:pt idx="46">
                  <c:v>0.6798444270933353</c:v>
                </c:pt>
                <c:pt idx="47">
                  <c:v>0.6797843377701274</c:v>
                </c:pt>
                <c:pt idx="48">
                  <c:v>0.6797488304427771</c:v>
                </c:pt>
                <c:pt idx="49">
                  <c:v>0.6798089197659851</c:v>
                </c:pt>
                <c:pt idx="50">
                  <c:v>0.6797816064372543</c:v>
                </c:pt>
                <c:pt idx="51">
                  <c:v>0.6797706811057619</c:v>
                </c:pt>
                <c:pt idx="52">
                  <c:v>0.6906047828136888</c:v>
                </c:pt>
                <c:pt idx="53">
                  <c:v>0.7170409147512645</c:v>
                </c:pt>
                <c:pt idx="54">
                  <c:v>0.6781069853401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47805631946181"/>
          <c:min val="0.486526428030267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3755240566979436</c:v>
                </c:pt>
                <c:pt idx="1">
                  <c:v>1.3614133147020662</c:v>
                </c:pt>
                <c:pt idx="2">
                  <c:v>1.3631463365941305</c:v>
                </c:pt>
                <c:pt idx="3">
                  <c:v>1.36873627470553</c:v>
                </c:pt>
                <c:pt idx="4">
                  <c:v>1.365342383709323</c:v>
                </c:pt>
                <c:pt idx="5">
                  <c:v>1.367601557041621</c:v>
                </c:pt>
                <c:pt idx="6">
                  <c:v>1.3670393292074265</c:v>
                </c:pt>
                <c:pt idx="7">
                  <c:v>1.3667714727753657</c:v>
                </c:pt>
                <c:pt idx="8">
                  <c:v>1.3788491291111444</c:v>
                </c:pt>
                <c:pt idx="9">
                  <c:v>1.373109746968109</c:v>
                </c:pt>
                <c:pt idx="10">
                  <c:v>1.365442204032741</c:v>
                </c:pt>
                <c:pt idx="11">
                  <c:v>1.3755053151669412</c:v>
                </c:pt>
                <c:pt idx="12">
                  <c:v>1.3807147135156717</c:v>
                </c:pt>
                <c:pt idx="13">
                  <c:v>1.3747067924339973</c:v>
                </c:pt>
                <c:pt idx="14">
                  <c:v>1.3749251347574365</c:v>
                </c:pt>
                <c:pt idx="15">
                  <c:v>1.3742077157259072</c:v>
                </c:pt>
                <c:pt idx="16">
                  <c:v>1.3755053151669412</c:v>
                </c:pt>
                <c:pt idx="17">
                  <c:v>1.3771710920343383</c:v>
                </c:pt>
                <c:pt idx="18">
                  <c:v>1.3748565154464243</c:v>
                </c:pt>
                <c:pt idx="19">
                  <c:v>1.3750062384588513</c:v>
                </c:pt>
                <c:pt idx="20">
                  <c:v>1.373808454359435</c:v>
                </c:pt>
                <c:pt idx="21">
                  <c:v>1.37522459572769</c:v>
                </c:pt>
                <c:pt idx="22">
                  <c:v>1.3742077157259072</c:v>
                </c:pt>
                <c:pt idx="23">
                  <c:v>1.3743387563629104</c:v>
                </c:pt>
                <c:pt idx="24">
                  <c:v>1.37337791974446</c:v>
                </c:pt>
                <c:pt idx="25">
                  <c:v>1.3735589160053903</c:v>
                </c:pt>
                <c:pt idx="26">
                  <c:v>1.374307531067525</c:v>
                </c:pt>
                <c:pt idx="27">
                  <c:v>1.3780506063782005</c:v>
                </c:pt>
                <c:pt idx="28">
                  <c:v>1.3726977788869479</c:v>
                </c:pt>
                <c:pt idx="29">
                  <c:v>1.373739894201018</c:v>
                </c:pt>
                <c:pt idx="30">
                  <c:v>1.371911962868693</c:v>
                </c:pt>
                <c:pt idx="31">
                  <c:v>1.3748066077756154</c:v>
                </c:pt>
                <c:pt idx="32">
                  <c:v>1.3744572540799522</c:v>
                </c:pt>
                <c:pt idx="33">
                  <c:v>1.3747067924339973</c:v>
                </c:pt>
                <c:pt idx="34">
                  <c:v>1.3746568847631881</c:v>
                </c:pt>
                <c:pt idx="35">
                  <c:v>1.3632461569175482</c:v>
                </c:pt>
                <c:pt idx="36">
                  <c:v>1.2478914009083197</c:v>
                </c:pt>
                <c:pt idx="37">
                  <c:v>1.2487147491889194</c:v>
                </c:pt>
                <c:pt idx="38">
                  <c:v>1.286085046915552</c:v>
                </c:pt>
                <c:pt idx="39">
                  <c:v>1.3747254941106009</c:v>
                </c:pt>
                <c:pt idx="40">
                  <c:v>1.3733093776513452</c:v>
                </c:pt>
                <c:pt idx="41">
                  <c:v>1.3732095623097271</c:v>
                </c:pt>
                <c:pt idx="42">
                  <c:v>1.3738583620302443</c:v>
                </c:pt>
                <c:pt idx="43">
                  <c:v>1.3773330671723725</c:v>
                </c:pt>
              </c:numCache>
            </c:numRef>
          </c:xVal>
          <c:yVal>
            <c:numRef>
              <c:f>Sheet1!$B$2:$B$45</c:f>
              <c:numCache>
                <c:formatCode>General</c:formatCode>
                <c:ptCount val="44"/>
                <c:pt idx="0">
                  <c:v>0.7450118887625349</c:v>
                </c:pt>
                <c:pt idx="1">
                  <c:v>0.745418240791953</c:v>
                </c:pt>
                <c:pt idx="2">
                  <c:v>0.7172771234873551</c:v>
                </c:pt>
                <c:pt idx="3">
                  <c:v>0.7503366577228775</c:v>
                </c:pt>
                <c:pt idx="4">
                  <c:v>0.7409252232257009</c:v>
                </c:pt>
                <c:pt idx="5">
                  <c:v>0.7219327598984886</c:v>
                </c:pt>
                <c:pt idx="6">
                  <c:v>0.7359658747396941</c:v>
                </c:pt>
                <c:pt idx="7">
                  <c:v>0.7196374447383154</c:v>
                </c:pt>
                <c:pt idx="8">
                  <c:v>0.7121176169098036</c:v>
                </c:pt>
                <c:pt idx="9">
                  <c:v>0.7193255117070445</c:v>
                </c:pt>
                <c:pt idx="10">
                  <c:v>0.7245277044854881</c:v>
                </c:pt>
                <c:pt idx="11">
                  <c:v>0.7392839286989705</c:v>
                </c:pt>
                <c:pt idx="12">
                  <c:v>0.7314085097463844</c:v>
                </c:pt>
                <c:pt idx="13">
                  <c:v>0.7288396847401433</c:v>
                </c:pt>
                <c:pt idx="14">
                  <c:v>0.7524310346700855</c:v>
                </c:pt>
                <c:pt idx="15">
                  <c:v>0.7464079346454426</c:v>
                </c:pt>
                <c:pt idx="16">
                  <c:v>0.7475271897238509</c:v>
                </c:pt>
                <c:pt idx="17">
                  <c:v>0.7223799767561674</c:v>
                </c:pt>
                <c:pt idx="18">
                  <c:v>0.7542987984483199</c:v>
                </c:pt>
                <c:pt idx="19">
                  <c:v>0.7472948342292873</c:v>
                </c:pt>
                <c:pt idx="20">
                  <c:v>0.7765734432321693</c:v>
                </c:pt>
                <c:pt idx="21">
                  <c:v>0.7342450600834632</c:v>
                </c:pt>
                <c:pt idx="22">
                  <c:v>0.7198626856139231</c:v>
                </c:pt>
                <c:pt idx="23">
                  <c:v>0.7349437168761771</c:v>
                </c:pt>
                <c:pt idx="24">
                  <c:v>0.7203411767751288</c:v>
                </c:pt>
                <c:pt idx="25">
                  <c:v>0.7508386502663947</c:v>
                </c:pt>
                <c:pt idx="26">
                  <c:v>0.7125456876590696</c:v>
                </c:pt>
                <c:pt idx="27">
                  <c:v>0.7622705603057266</c:v>
                </c:pt>
                <c:pt idx="28">
                  <c:v>0.7281488996410176</c:v>
                </c:pt>
                <c:pt idx="29">
                  <c:v>0.7374461675541507</c:v>
                </c:pt>
                <c:pt idx="30">
                  <c:v>0.7432105172115551</c:v>
                </c:pt>
                <c:pt idx="31">
                  <c:v>0.7558711854872733</c:v>
                </c:pt>
                <c:pt idx="32">
                  <c:v>0.7565480608870851</c:v>
                </c:pt>
                <c:pt idx="33">
                  <c:v>0.6890582165907571</c:v>
                </c:pt>
                <c:pt idx="34">
                  <c:v>0.7254159196499143</c:v>
                </c:pt>
                <c:pt idx="35">
                  <c:v>0.7574429563701892</c:v>
                </c:pt>
                <c:pt idx="36">
                  <c:v>0.7823205841670151</c:v>
                </c:pt>
                <c:pt idx="37">
                  <c:v>0.7068844416022811</c:v>
                </c:pt>
                <c:pt idx="38">
                  <c:v>0.7644527098831031</c:v>
                </c:pt>
                <c:pt idx="39">
                  <c:v>0.715597706692386</c:v>
                </c:pt>
                <c:pt idx="40">
                  <c:v>0.7370986494946785</c:v>
                </c:pt>
                <c:pt idx="41">
                  <c:v>0.7141503789389709</c:v>
                </c:pt>
                <c:pt idx="42">
                  <c:v>0.7464966067763746</c:v>
                </c:pt>
                <c:pt idx="43">
                  <c:v>0.7563942759089585</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3611319059739484</c:v>
                </c:pt>
                <c:pt idx="1">
                  <c:v>1.3806338906912903</c:v>
                </c:pt>
                <c:pt idx="2">
                  <c:v>1.3817628269115592</c:v>
                </c:pt>
                <c:pt idx="3">
                  <c:v>1.3834597724096627</c:v>
                </c:pt>
                <c:pt idx="4">
                  <c:v>1.3803154322220004</c:v>
                </c:pt>
                <c:pt idx="5">
                  <c:v>1.3853755927127527</c:v>
                </c:pt>
                <c:pt idx="6">
                  <c:v>1.378088345395558</c:v>
                </c:pt>
                <c:pt idx="7">
                  <c:v>1.3783999600738635</c:v>
                </c:pt>
                <c:pt idx="8">
                  <c:v>1.2734215123533816</c:v>
                </c:pt>
                <c:pt idx="9">
                  <c:v>1.1434418047514474</c:v>
                </c:pt>
                <c:pt idx="10">
                  <c:v>1.1382442481409394</c:v>
                </c:pt>
                <c:pt idx="11">
                  <c:v>1.2616659180516046</c:v>
                </c:pt>
                <c:pt idx="12">
                  <c:v>1.3842276016970303</c:v>
                </c:pt>
                <c:pt idx="13">
                  <c:v>1.3814824057898678</c:v>
                </c:pt>
                <c:pt idx="14">
                  <c:v>1.2590707191695365</c:v>
                </c:pt>
                <c:pt idx="15">
                  <c:v>1.1424364924888957</c:v>
                </c:pt>
                <c:pt idx="16">
                  <c:v>1.140397284887203</c:v>
                </c:pt>
                <c:pt idx="17">
                  <c:v>1.2161002146029847</c:v>
                </c:pt>
                <c:pt idx="18">
                  <c:v>1.3824424814093927</c:v>
                </c:pt>
                <c:pt idx="19">
                  <c:v>1.383210221601118</c:v>
                </c:pt>
                <c:pt idx="20">
                  <c:v>1.3788491291111444</c:v>
                </c:pt>
                <c:pt idx="21">
                  <c:v>1.38450788580555</c:v>
                </c:pt>
                <c:pt idx="22">
                  <c:v>1.3727476915398056</c:v>
                </c:pt>
                <c:pt idx="23">
                  <c:v>1.2363863239331172</c:v>
                </c:pt>
                <c:pt idx="24">
                  <c:v>1.1398981832701138</c:v>
                </c:pt>
                <c:pt idx="25">
                  <c:v>1.140083840702665</c:v>
                </c:pt>
                <c:pt idx="26">
                  <c:v>1.1967556775642627</c:v>
                </c:pt>
                <c:pt idx="27">
                  <c:v>1.321437484402296</c:v>
                </c:pt>
                <c:pt idx="28">
                  <c:v>1.3186944804870744</c:v>
                </c:pt>
                <c:pt idx="29">
                  <c:v>1.3415851467358755</c:v>
                </c:pt>
                <c:pt idx="30">
                  <c:v>1.3408864044719504</c:v>
                </c:pt>
                <c:pt idx="31">
                  <c:v>1.3386734541098968</c:v>
                </c:pt>
                <c:pt idx="32">
                  <c:v>1.3448120976194042</c:v>
                </c:pt>
                <c:pt idx="33">
                  <c:v>1.3401706842341667</c:v>
                </c:pt>
                <c:pt idx="34">
                  <c:v>1.3430995757424509</c:v>
                </c:pt>
                <c:pt idx="35">
                  <c:v>1.339921145880122</c:v>
                </c:pt>
                <c:pt idx="36">
                  <c:v>1.3376590965809834</c:v>
                </c:pt>
                <c:pt idx="37">
                  <c:v>1.3462267917748052</c:v>
                </c:pt>
                <c:pt idx="38">
                  <c:v>1.1848487873041222</c:v>
                </c:pt>
                <c:pt idx="39">
                  <c:v>1.1111998402874825</c:v>
                </c:pt>
                <c:pt idx="40">
                  <c:v>1.104307031990817</c:v>
                </c:pt>
                <c:pt idx="41">
                  <c:v>1.2096725893391895</c:v>
                </c:pt>
                <c:pt idx="42">
                  <c:v>1.3404871231782791</c:v>
                </c:pt>
                <c:pt idx="43">
                  <c:v>1.3493536956630234</c:v>
                </c:pt>
                <c:pt idx="44">
                  <c:v>1.2200539029746458</c:v>
                </c:pt>
                <c:pt idx="45">
                  <c:v>1.1066081054102614</c:v>
                </c:pt>
                <c:pt idx="46">
                  <c:v>1.1064530618356043</c:v>
                </c:pt>
                <c:pt idx="47">
                  <c:v>1.2332684533612817</c:v>
                </c:pt>
                <c:pt idx="48">
                  <c:v>1.3416521088095834</c:v>
                </c:pt>
                <c:pt idx="49">
                  <c:v>1.345877420642843</c:v>
                </c:pt>
                <c:pt idx="50">
                  <c:v>1.3428828109403073</c:v>
                </c:pt>
                <c:pt idx="51">
                  <c:v>1.3422011479910156</c:v>
                </c:pt>
              </c:numCache>
            </c:numRef>
          </c:xVal>
          <c:yVal>
            <c:numRef>
              <c:f>Sheet1!$B$48:$B$99</c:f>
              <c:numCache>
                <c:formatCode>General</c:formatCode>
                <c:ptCount val="52"/>
                <c:pt idx="0">
                  <c:v>0.7429994030498724</c:v>
                </c:pt>
                <c:pt idx="1">
                  <c:v>0.7782015784219548</c:v>
                </c:pt>
                <c:pt idx="2">
                  <c:v>0.755358697229073</c:v>
                </c:pt>
                <c:pt idx="3">
                  <c:v>0.7087769328263624</c:v>
                </c:pt>
                <c:pt idx="4">
                  <c:v>0.781467273019825</c:v>
                </c:pt>
                <c:pt idx="5">
                  <c:v>0.7485295625506847</c:v>
                </c:pt>
                <c:pt idx="6">
                  <c:v>0.741761416880115</c:v>
                </c:pt>
                <c:pt idx="7">
                  <c:v>0.7260637212907437</c:v>
                </c:pt>
                <c:pt idx="8">
                  <c:v>0.7346161869002921</c:v>
                </c:pt>
                <c:pt idx="9">
                  <c:v>0.8012912482065997</c:v>
                </c:pt>
                <c:pt idx="10">
                  <c:v>0.7601243643453746</c:v>
                </c:pt>
                <c:pt idx="11">
                  <c:v>0.7486960431654677</c:v>
                </c:pt>
                <c:pt idx="12">
                  <c:v>0.7512797810688989</c:v>
                </c:pt>
                <c:pt idx="13">
                  <c:v>0.7099748867245114</c:v>
                </c:pt>
                <c:pt idx="14">
                  <c:v>0.7447398982136147</c:v>
                </c:pt>
                <c:pt idx="15">
                  <c:v>0.7668651800279428</c:v>
                </c:pt>
                <c:pt idx="16">
                  <c:v>0.739604589703275</c:v>
                </c:pt>
                <c:pt idx="17">
                  <c:v>0.7865140819850864</c:v>
                </c:pt>
                <c:pt idx="18">
                  <c:v>0.7347423368264061</c:v>
                </c:pt>
                <c:pt idx="19">
                  <c:v>0.7457774373154964</c:v>
                </c:pt>
                <c:pt idx="20">
                  <c:v>0.7163614789787525</c:v>
                </c:pt>
                <c:pt idx="21">
                  <c:v>0.7258212913351735</c:v>
                </c:pt>
                <c:pt idx="22">
                  <c:v>0.7992191513407993</c:v>
                </c:pt>
                <c:pt idx="23">
                  <c:v>0.7513348137182334</c:v>
                </c:pt>
                <c:pt idx="24">
                  <c:v>0.7774719657770158</c:v>
                </c:pt>
                <c:pt idx="25">
                  <c:v>0.7832312459941456</c:v>
                </c:pt>
                <c:pt idx="26">
                  <c:v>0.7567762082509941</c:v>
                </c:pt>
                <c:pt idx="27">
                  <c:v>0.7458628217316292</c:v>
                </c:pt>
                <c:pt idx="28">
                  <c:v>0.6721582901164461</c:v>
                </c:pt>
                <c:pt idx="29">
                  <c:v>0.7735148066258292</c:v>
                </c:pt>
                <c:pt idx="30">
                  <c:v>0.7262566041394019</c:v>
                </c:pt>
                <c:pt idx="31">
                  <c:v>0.7440106346314804</c:v>
                </c:pt>
                <c:pt idx="32">
                  <c:v>0.7724528632048646</c:v>
                </c:pt>
                <c:pt idx="33">
                  <c:v>0.7336042143090493</c:v>
                </c:pt>
                <c:pt idx="34">
                  <c:v>0.7357007386703933</c:v>
                </c:pt>
                <c:pt idx="35">
                  <c:v>0.7195270778212776</c:v>
                </c:pt>
                <c:pt idx="36">
                  <c:v>0.7817207104948308</c:v>
                </c:pt>
                <c:pt idx="37">
                  <c:v>0.6542655693849327</c:v>
                </c:pt>
                <c:pt idx="38">
                  <c:v>0.8161940848574193</c:v>
                </c:pt>
                <c:pt idx="39">
                  <c:v>0.7756315504337415</c:v>
                </c:pt>
                <c:pt idx="40">
                  <c:v>0.7355430491978329</c:v>
                </c:pt>
                <c:pt idx="41">
                  <c:v>0.7484759870562029</c:v>
                </c:pt>
                <c:pt idx="42">
                  <c:v>0.7389354981148738</c:v>
                </c:pt>
                <c:pt idx="43">
                  <c:v>0.7049555215074664</c:v>
                </c:pt>
                <c:pt idx="44">
                  <c:v>0.7728829761809926</c:v>
                </c:pt>
                <c:pt idx="45">
                  <c:v>0.8024176249982702</c:v>
                </c:pt>
                <c:pt idx="46">
                  <c:v>0.7920728541762806</c:v>
                </c:pt>
                <c:pt idx="47">
                  <c:v>0.7781688004368666</c:v>
                </c:pt>
                <c:pt idx="48">
                  <c:v>0.7394066071283151</c:v>
                </c:pt>
                <c:pt idx="49">
                  <c:v>0.7368819243644353</c:v>
                </c:pt>
                <c:pt idx="50">
                  <c:v>0.7165805683643633</c:v>
                </c:pt>
                <c:pt idx="51">
                  <c:v>0.7453252912567591</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2683037024207204</c:v>
                </c:pt>
              </c:numCache>
            </c:numRef>
          </c:xVal>
          <c:yVal>
            <c:numRef>
              <c:f>Sheet1!$B$102:$B$103</c:f>
              <c:numCache>
                <c:formatCode>General</c:formatCode>
                <c:ptCount val="2"/>
                <c:pt idx="0">
                  <c:v>0.752867557939723</c:v>
                </c:pt>
                <c:pt idx="1">
                  <c:v>0.75286755793972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2683037024207204</c:v>
                </c:pt>
                <c:pt idx="1">
                  <c:v>1.2683037024207204</c:v>
                </c:pt>
              </c:numCache>
            </c:numRef>
          </c:xVal>
          <c:yVal>
            <c:numRef>
              <c:f>Sheet1!$B$106:$B$107</c:f>
              <c:numCache>
                <c:formatCode>General</c:formatCode>
                <c:ptCount val="2"/>
                <c:pt idx="0">
                  <c:v>0.7528675579397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2683037024207204</c:v>
                </c:pt>
              </c:numCache>
            </c:numRef>
          </c:xVal>
          <c:yVal>
            <c:numRef>
              <c:f>Sheet1!$B$110:$B$111</c:f>
              <c:numCache>
                <c:formatCode>General</c:formatCode>
                <c:ptCount val="2"/>
                <c:pt idx="0">
                  <c:v>0.752867557939723</c:v>
                </c:pt>
                <c:pt idx="1">
                  <c:v>0.75286755793972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2683037024207204</c:v>
                </c:pt>
                <c:pt idx="1">
                  <c:v>1.2683037024207204</c:v>
                </c:pt>
              </c:numCache>
            </c:numRef>
          </c:xVal>
          <c:yVal>
            <c:numRef>
              <c:f>Sheet1!$B$114:$B$115</c:f>
              <c:numCache>
                <c:formatCode>General</c:formatCode>
                <c:ptCount val="2"/>
                <c:pt idx="0">
                  <c:v>0.75286755793972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2683037024207198</c:v>
                </c:pt>
              </c:numCache>
            </c:numRef>
          </c:xVal>
          <c:yVal>
            <c:numRef>
              <c:f>Sheet1!$B$118:$B$119</c:f>
              <c:numCache>
                <c:formatCode>General</c:formatCode>
                <c:ptCount val="2"/>
                <c:pt idx="0">
                  <c:v>0.7528675579397232</c:v>
                </c:pt>
                <c:pt idx="1">
                  <c:v>0.7528675579397232</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2683037024207198</c:v>
                </c:pt>
                <c:pt idx="1">
                  <c:v>1.2683037024207198</c:v>
                </c:pt>
              </c:numCache>
            </c:numRef>
          </c:xVal>
          <c:yVal>
            <c:numRef>
              <c:f>Sheet1!$B$122:$B$123</c:f>
              <c:numCache>
                <c:formatCode>General</c:formatCode>
                <c:ptCount val="2"/>
                <c:pt idx="0">
                  <c:v>0.752867557939723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3611319059739484</c:v>
                </c:pt>
                <c:pt idx="1">
                  <c:v>1.3806338906912903</c:v>
                </c:pt>
                <c:pt idx="2">
                  <c:v>1.3817628269115592</c:v>
                </c:pt>
                <c:pt idx="3">
                  <c:v>1.3834597724096627</c:v>
                </c:pt>
                <c:pt idx="4">
                  <c:v>1.3803154322220004</c:v>
                </c:pt>
                <c:pt idx="5">
                  <c:v>1.3853755927127527</c:v>
                </c:pt>
                <c:pt idx="6">
                  <c:v>1.378088345395558</c:v>
                </c:pt>
                <c:pt idx="7">
                  <c:v>1.3783999600738635</c:v>
                </c:pt>
                <c:pt idx="8">
                  <c:v>1.2734215123533816</c:v>
                </c:pt>
                <c:pt idx="9">
                  <c:v>1.1434418047514474</c:v>
                </c:pt>
                <c:pt idx="10">
                  <c:v>1.1382442481409394</c:v>
                </c:pt>
                <c:pt idx="11">
                  <c:v>1.2616659180516046</c:v>
                </c:pt>
                <c:pt idx="12">
                  <c:v>1.3842276016970303</c:v>
                </c:pt>
                <c:pt idx="13">
                  <c:v>1.3814824057898678</c:v>
                </c:pt>
                <c:pt idx="14">
                  <c:v>1.2590707191695365</c:v>
                </c:pt>
                <c:pt idx="15">
                  <c:v>1.1424364924888957</c:v>
                </c:pt>
                <c:pt idx="16">
                  <c:v>1.140397284887203</c:v>
                </c:pt>
                <c:pt idx="17">
                  <c:v>1.2161002146029847</c:v>
                </c:pt>
                <c:pt idx="18">
                  <c:v>1.3824424814093927</c:v>
                </c:pt>
                <c:pt idx="19">
                  <c:v>1.383210221601118</c:v>
                </c:pt>
                <c:pt idx="20">
                  <c:v>1.3788491291111444</c:v>
                </c:pt>
                <c:pt idx="21">
                  <c:v>1.38450788580555</c:v>
                </c:pt>
                <c:pt idx="22">
                  <c:v>1.3727476915398056</c:v>
                </c:pt>
                <c:pt idx="23">
                  <c:v>1.2363863239331172</c:v>
                </c:pt>
                <c:pt idx="24">
                  <c:v>1.1398981832701138</c:v>
                </c:pt>
                <c:pt idx="25">
                  <c:v>1.140083840702665</c:v>
                </c:pt>
                <c:pt idx="26">
                  <c:v>1.1967556775642627</c:v>
                </c:pt>
                <c:pt idx="27">
                  <c:v>1.321437484402296</c:v>
                </c:pt>
                <c:pt idx="28">
                  <c:v>1.3186944804870744</c:v>
                </c:pt>
                <c:pt idx="29">
                  <c:v>1.3415851467358755</c:v>
                </c:pt>
                <c:pt idx="30">
                  <c:v>1.3408864044719504</c:v>
                </c:pt>
                <c:pt idx="31">
                  <c:v>1.3386734541098968</c:v>
                </c:pt>
                <c:pt idx="32">
                  <c:v>1.3448120976194042</c:v>
                </c:pt>
                <c:pt idx="33">
                  <c:v>1.3401706842341667</c:v>
                </c:pt>
                <c:pt idx="34">
                  <c:v>1.3430995757424509</c:v>
                </c:pt>
                <c:pt idx="35">
                  <c:v>1.339921145880122</c:v>
                </c:pt>
                <c:pt idx="36">
                  <c:v>1.3376590965809834</c:v>
                </c:pt>
                <c:pt idx="37">
                  <c:v>1.3462267917748052</c:v>
                </c:pt>
                <c:pt idx="38">
                  <c:v>1.1848487873041222</c:v>
                </c:pt>
                <c:pt idx="39">
                  <c:v>1.1111998402874825</c:v>
                </c:pt>
                <c:pt idx="40">
                  <c:v>1.104307031990817</c:v>
                </c:pt>
                <c:pt idx="41">
                  <c:v>1.2096725893391895</c:v>
                </c:pt>
                <c:pt idx="42">
                  <c:v>1.3404871231782791</c:v>
                </c:pt>
                <c:pt idx="43">
                  <c:v>1.3493536956630234</c:v>
                </c:pt>
                <c:pt idx="44">
                  <c:v>1.2200539029746458</c:v>
                </c:pt>
                <c:pt idx="45">
                  <c:v>1.1066081054102614</c:v>
                </c:pt>
                <c:pt idx="46">
                  <c:v>1.1064530618356043</c:v>
                </c:pt>
                <c:pt idx="47">
                  <c:v>1.2332684533612817</c:v>
                </c:pt>
                <c:pt idx="48">
                  <c:v>1.3416521088095834</c:v>
                </c:pt>
                <c:pt idx="49">
                  <c:v>1.345877420642843</c:v>
                </c:pt>
                <c:pt idx="50">
                  <c:v>1.3428828109403073</c:v>
                </c:pt>
                <c:pt idx="51">
                  <c:v>1.3422011479910156</c:v>
                </c:pt>
                <c:pt idx="52">
                  <c:v>1.2683037024207204</c:v>
                </c:pt>
                <c:pt idx="53">
                  <c:v>1.2683037024207204</c:v>
                </c:pt>
                <c:pt idx="54">
                  <c:v>1.2683037024207198</c:v>
                </c:pt>
              </c:numCache>
            </c:numRef>
          </c:xVal>
          <c:yVal>
            <c:numRef>
              <c:f>Sheet1!$B$126:$B$180</c:f>
              <c:numCache>
                <c:formatCode>General</c:formatCode>
                <c:ptCount val="55"/>
                <c:pt idx="0">
                  <c:v>0.7384085805173067</c:v>
                </c:pt>
                <c:pt idx="1">
                  <c:v>0.7353709395210692</c:v>
                </c:pt>
                <c:pt idx="2">
                  <c:v>0.7351950957290384</c:v>
                </c:pt>
                <c:pt idx="3">
                  <c:v>0.7349307784665582</c:v>
                </c:pt>
                <c:pt idx="4">
                  <c:v>0.7354205428058598</c:v>
                </c:pt>
                <c:pt idx="5">
                  <c:v>0.7346323691313834</c:v>
                </c:pt>
                <c:pt idx="6">
                  <c:v>0.7357674352039534</c:v>
                </c:pt>
                <c:pt idx="7">
                  <c:v>0.7357188979122073</c:v>
                </c:pt>
                <c:pt idx="8">
                  <c:v>0.7520704047531257</c:v>
                </c:pt>
                <c:pt idx="9">
                  <c:v>0.7723161230332495</c:v>
                </c:pt>
                <c:pt idx="10">
                  <c:v>0.773125697610872</c:v>
                </c:pt>
                <c:pt idx="11">
                  <c:v>0.7539014632686448</c:v>
                </c:pt>
                <c:pt idx="12">
                  <c:v>0.7348111809099389</c:v>
                </c:pt>
                <c:pt idx="13">
                  <c:v>0.7352387742934413</c:v>
                </c:pt>
                <c:pt idx="14">
                  <c:v>0.7543056930243244</c:v>
                </c:pt>
                <c:pt idx="15">
                  <c:v>0.7724727110824665</c:v>
                </c:pt>
                <c:pt idx="16">
                  <c:v>0.7727903392982876</c:v>
                </c:pt>
                <c:pt idx="17">
                  <c:v>0.760998804940482</c:v>
                </c:pt>
                <c:pt idx="18">
                  <c:v>0.7350892323312448</c:v>
                </c:pt>
                <c:pt idx="19">
                  <c:v>0.734969648652217</c:v>
                </c:pt>
                <c:pt idx="20">
                  <c:v>0.7356489350698783</c:v>
                </c:pt>
                <c:pt idx="21">
                  <c:v>0.734767523686791</c:v>
                </c:pt>
                <c:pt idx="22">
                  <c:v>0.7365992986954943</c:v>
                </c:pt>
                <c:pt idx="23">
                  <c:v>0.7578390282178304</c:v>
                </c:pt>
                <c:pt idx="24">
                  <c:v>0.7728680796696054</c:v>
                </c:pt>
                <c:pt idx="25">
                  <c:v>0.7728391615550366</c:v>
                </c:pt>
                <c:pt idx="26">
                  <c:v>0.7640119217905738</c:v>
                </c:pt>
                <c:pt idx="27">
                  <c:v>0.7445914077544113</c:v>
                </c:pt>
                <c:pt idx="28">
                  <c:v>0.7450186597119164</c:v>
                </c:pt>
                <c:pt idx="29">
                  <c:v>0.7414531956201148</c:v>
                </c:pt>
                <c:pt idx="30">
                  <c:v>0.7415620321399596</c:v>
                </c:pt>
                <c:pt idx="31">
                  <c:v>0.7419067226337654</c:v>
                </c:pt>
                <c:pt idx="32">
                  <c:v>0.7409505637886</c:v>
                </c:pt>
                <c:pt idx="33">
                  <c:v>0.7416735131593348</c:v>
                </c:pt>
                <c:pt idx="34">
                  <c:v>0.7412173072373199</c:v>
                </c:pt>
                <c:pt idx="35">
                  <c:v>0.7417123814050732</c:v>
                </c:pt>
                <c:pt idx="36">
                  <c:v>0.7420647195791701</c:v>
                </c:pt>
                <c:pt idx="37">
                  <c:v>0.74073021016686</c:v>
                </c:pt>
                <c:pt idx="38">
                  <c:v>0.7658665462565513</c:v>
                </c:pt>
                <c:pt idx="39">
                  <c:v>0.7773381510203742</c:v>
                </c:pt>
                <c:pt idx="40">
                  <c:v>0.7784117790312985</c:v>
                </c:pt>
                <c:pt idx="41">
                  <c:v>0.7619999757593882</c:v>
                </c:pt>
                <c:pt idx="42">
                  <c:v>0.7416242244370138</c:v>
                </c:pt>
                <c:pt idx="43">
                  <c:v>0.7402431617161607</c:v>
                </c:pt>
                <c:pt idx="44">
                  <c:v>0.7603829760359795</c:v>
                </c:pt>
                <c:pt idx="45">
                  <c:v>0.7780533624364973</c:v>
                </c:pt>
                <c:pt idx="46">
                  <c:v>0.778077512117948</c:v>
                </c:pt>
                <c:pt idx="47">
                  <c:v>0.7583246696336781</c:v>
                </c:pt>
                <c:pt idx="48">
                  <c:v>0.741442765566803</c:v>
                </c:pt>
                <c:pt idx="49">
                  <c:v>0.7407846284267825</c:v>
                </c:pt>
                <c:pt idx="50">
                  <c:v>0.7412510706546888</c:v>
                </c:pt>
                <c:pt idx="51">
                  <c:v>0.7413572468901026</c:v>
                </c:pt>
                <c:pt idx="52">
                  <c:v>0.752867557939723</c:v>
                </c:pt>
                <c:pt idx="53">
                  <c:v>0.752867557939723</c:v>
                </c:pt>
                <c:pt idx="54">
                  <c:v>0.752867557939723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94329018289031"/>
          <c:min val="0.523412455507946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756</c:v>
                </c:pt>
                <c:pt idx="1">
                  <c:v>2.728</c:v>
                </c:pt>
                <c:pt idx="2">
                  <c:v>2.7312</c:v>
                </c:pt>
                <c:pt idx="3">
                  <c:v>2.7424</c:v>
                </c:pt>
                <c:pt idx="4">
                  <c:v>2.7356</c:v>
                </c:pt>
                <c:pt idx="5">
                  <c:v>2.7404</c:v>
                </c:pt>
                <c:pt idx="6">
                  <c:v>2.739</c:v>
                </c:pt>
                <c:pt idx="7">
                  <c:v>2.7386</c:v>
                </c:pt>
                <c:pt idx="8">
                  <c:v>2.7628</c:v>
                </c:pt>
                <c:pt idx="9">
                  <c:v>2.7513</c:v>
                </c:pt>
                <c:pt idx="10">
                  <c:v>2.7358</c:v>
                </c:pt>
                <c:pt idx="11">
                  <c:v>2.7561</c:v>
                </c:pt>
                <c:pt idx="12">
                  <c:v>2.7664</c:v>
                </c:pt>
                <c:pt idx="13">
                  <c:v>2.7545</c:v>
                </c:pt>
                <c:pt idx="14">
                  <c:v>2.7548</c:v>
                </c:pt>
                <c:pt idx="15">
                  <c:v>2.7535</c:v>
                </c:pt>
                <c:pt idx="16">
                  <c:v>2.7561</c:v>
                </c:pt>
                <c:pt idx="17">
                  <c:v>2.7593</c:v>
                </c:pt>
                <c:pt idx="18">
                  <c:v>2.7548</c:v>
                </c:pt>
                <c:pt idx="19">
                  <c:v>2.7551</c:v>
                </c:pt>
                <c:pt idx="20">
                  <c:v>2.7527</c:v>
                </c:pt>
                <c:pt idx="21">
                  <c:v>2.7554</c:v>
                </c:pt>
                <c:pt idx="22">
                  <c:v>2.7535</c:v>
                </c:pt>
                <c:pt idx="23">
                  <c:v>2.7539</c:v>
                </c:pt>
                <c:pt idx="24">
                  <c:v>2.7517</c:v>
                </c:pt>
                <c:pt idx="25">
                  <c:v>2.7522</c:v>
                </c:pt>
                <c:pt idx="26">
                  <c:v>2.7537</c:v>
                </c:pt>
                <c:pt idx="27">
                  <c:v>2.7612</c:v>
                </c:pt>
                <c:pt idx="28">
                  <c:v>2.7502</c:v>
                </c:pt>
                <c:pt idx="29">
                  <c:v>2.7527</c:v>
                </c:pt>
                <c:pt idx="30">
                  <c:v>2.7489</c:v>
                </c:pt>
                <c:pt idx="31">
                  <c:v>2.7547</c:v>
                </c:pt>
                <c:pt idx="32">
                  <c:v>2.754</c:v>
                </c:pt>
                <c:pt idx="33">
                  <c:v>2.7545</c:v>
                </c:pt>
                <c:pt idx="34">
                  <c:v>2.7544</c:v>
                </c:pt>
                <c:pt idx="35">
                  <c:v>2.7314</c:v>
                </c:pt>
                <c:pt idx="36">
                  <c:v>2.5004</c:v>
                </c:pt>
                <c:pt idx="37">
                  <c:v>2.5018</c:v>
                </c:pt>
                <c:pt idx="38">
                  <c:v>2.5768</c:v>
                </c:pt>
                <c:pt idx="39">
                  <c:v>2.7544</c:v>
                </c:pt>
                <c:pt idx="40">
                  <c:v>2.7517</c:v>
                </c:pt>
                <c:pt idx="41">
                  <c:v>2.7515</c:v>
                </c:pt>
                <c:pt idx="42">
                  <c:v>2.7528</c:v>
                </c:pt>
                <c:pt idx="43">
                  <c:v>2.7599</c:v>
                </c:pt>
              </c:numCache>
            </c:numRef>
          </c:xVal>
          <c:yVal>
            <c:numRef>
              <c:f>Sheet1!$B$2:$B$45</c:f>
              <c:numCache>
                <c:formatCode>General</c:formatCode>
                <c:ptCount val="44"/>
                <c:pt idx="0">
                  <c:v>0.7450118887625349</c:v>
                </c:pt>
                <c:pt idx="1">
                  <c:v>0.745418240791953</c:v>
                </c:pt>
                <c:pt idx="2">
                  <c:v>0.7172771234873551</c:v>
                </c:pt>
                <c:pt idx="3">
                  <c:v>0.7503366577228775</c:v>
                </c:pt>
                <c:pt idx="4">
                  <c:v>0.7409252232257009</c:v>
                </c:pt>
                <c:pt idx="5">
                  <c:v>0.7219327598984886</c:v>
                </c:pt>
                <c:pt idx="6">
                  <c:v>0.7359658747396941</c:v>
                </c:pt>
                <c:pt idx="7">
                  <c:v>0.7196374447383154</c:v>
                </c:pt>
                <c:pt idx="8">
                  <c:v>0.7121176169098036</c:v>
                </c:pt>
                <c:pt idx="9">
                  <c:v>0.7193255117070445</c:v>
                </c:pt>
                <c:pt idx="10">
                  <c:v>0.7245277044854881</c:v>
                </c:pt>
                <c:pt idx="11">
                  <c:v>0.7392839286989705</c:v>
                </c:pt>
                <c:pt idx="12">
                  <c:v>0.7314085097463844</c:v>
                </c:pt>
                <c:pt idx="13">
                  <c:v>0.7288396847401433</c:v>
                </c:pt>
                <c:pt idx="14">
                  <c:v>0.7524310346700855</c:v>
                </c:pt>
                <c:pt idx="15">
                  <c:v>0.7464079346454426</c:v>
                </c:pt>
                <c:pt idx="16">
                  <c:v>0.7475271897238509</c:v>
                </c:pt>
                <c:pt idx="17">
                  <c:v>0.7223799767561674</c:v>
                </c:pt>
                <c:pt idx="18">
                  <c:v>0.7542987984483199</c:v>
                </c:pt>
                <c:pt idx="19">
                  <c:v>0.7472948342292873</c:v>
                </c:pt>
                <c:pt idx="20">
                  <c:v>0.7765734432321693</c:v>
                </c:pt>
                <c:pt idx="21">
                  <c:v>0.7342450600834632</c:v>
                </c:pt>
                <c:pt idx="22">
                  <c:v>0.7198626856139231</c:v>
                </c:pt>
                <c:pt idx="23">
                  <c:v>0.7349437168761771</c:v>
                </c:pt>
                <c:pt idx="24">
                  <c:v>0.7203411767751288</c:v>
                </c:pt>
                <c:pt idx="25">
                  <c:v>0.7508386502663947</c:v>
                </c:pt>
                <c:pt idx="26">
                  <c:v>0.7125456876590696</c:v>
                </c:pt>
                <c:pt idx="27">
                  <c:v>0.7622705603057266</c:v>
                </c:pt>
                <c:pt idx="28">
                  <c:v>0.7281488996410176</c:v>
                </c:pt>
                <c:pt idx="29">
                  <c:v>0.7374461675541507</c:v>
                </c:pt>
                <c:pt idx="30">
                  <c:v>0.7432105172115551</c:v>
                </c:pt>
                <c:pt idx="31">
                  <c:v>0.7558711854872733</c:v>
                </c:pt>
                <c:pt idx="32">
                  <c:v>0.7565480608870851</c:v>
                </c:pt>
                <c:pt idx="33">
                  <c:v>0.6890582165907571</c:v>
                </c:pt>
                <c:pt idx="34">
                  <c:v>0.7254159196499143</c:v>
                </c:pt>
                <c:pt idx="35">
                  <c:v>0.7574429563701892</c:v>
                </c:pt>
                <c:pt idx="36">
                  <c:v>0.7823205841670151</c:v>
                </c:pt>
                <c:pt idx="37">
                  <c:v>0.7068844416022811</c:v>
                </c:pt>
                <c:pt idx="38">
                  <c:v>0.7644527098831031</c:v>
                </c:pt>
                <c:pt idx="39">
                  <c:v>0.715597706692386</c:v>
                </c:pt>
                <c:pt idx="40">
                  <c:v>0.7370986494946785</c:v>
                </c:pt>
                <c:pt idx="41">
                  <c:v>0.7141503789389709</c:v>
                </c:pt>
                <c:pt idx="42">
                  <c:v>0.7464966067763746</c:v>
                </c:pt>
                <c:pt idx="43">
                  <c:v>0.7563942759089585</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numCache>
            </c:numRef>
          </c:xVal>
          <c:yVal>
            <c:numRef>
              <c:f>Sheet1!$B$48:$B$99</c:f>
              <c:numCache>
                <c:formatCode>General</c:formatCode>
                <c:ptCount val="52"/>
                <c:pt idx="0">
                  <c:v>0.7429994030498724</c:v>
                </c:pt>
                <c:pt idx="1">
                  <c:v>0.7782015784219548</c:v>
                </c:pt>
                <c:pt idx="2">
                  <c:v>0.755358697229073</c:v>
                </c:pt>
                <c:pt idx="3">
                  <c:v>0.7087769328263624</c:v>
                </c:pt>
                <c:pt idx="4">
                  <c:v>0.781467273019825</c:v>
                </c:pt>
                <c:pt idx="5">
                  <c:v>0.7485295625506847</c:v>
                </c:pt>
                <c:pt idx="6">
                  <c:v>0.741761416880115</c:v>
                </c:pt>
                <c:pt idx="7">
                  <c:v>0.7260637212907437</c:v>
                </c:pt>
                <c:pt idx="8">
                  <c:v>0.7346161869002921</c:v>
                </c:pt>
                <c:pt idx="9">
                  <c:v>0.8012912482065997</c:v>
                </c:pt>
                <c:pt idx="10">
                  <c:v>0.7601243643453746</c:v>
                </c:pt>
                <c:pt idx="11">
                  <c:v>0.7486960431654677</c:v>
                </c:pt>
                <c:pt idx="12">
                  <c:v>0.7512797810688989</c:v>
                </c:pt>
                <c:pt idx="13">
                  <c:v>0.7099748867245114</c:v>
                </c:pt>
                <c:pt idx="14">
                  <c:v>0.7447398982136147</c:v>
                </c:pt>
                <c:pt idx="15">
                  <c:v>0.7668651800279428</c:v>
                </c:pt>
                <c:pt idx="16">
                  <c:v>0.739604589703275</c:v>
                </c:pt>
                <c:pt idx="17">
                  <c:v>0.7865140819850864</c:v>
                </c:pt>
                <c:pt idx="18">
                  <c:v>0.7347423368264061</c:v>
                </c:pt>
                <c:pt idx="19">
                  <c:v>0.7457774373154964</c:v>
                </c:pt>
                <c:pt idx="20">
                  <c:v>0.7163614789787525</c:v>
                </c:pt>
                <c:pt idx="21">
                  <c:v>0.7258212913351735</c:v>
                </c:pt>
                <c:pt idx="22">
                  <c:v>0.7992191513407993</c:v>
                </c:pt>
                <c:pt idx="23">
                  <c:v>0.7513348137182334</c:v>
                </c:pt>
                <c:pt idx="24">
                  <c:v>0.7774719657770158</c:v>
                </c:pt>
                <c:pt idx="25">
                  <c:v>0.7832312459941456</c:v>
                </c:pt>
                <c:pt idx="26">
                  <c:v>0.7567762082509941</c:v>
                </c:pt>
                <c:pt idx="27">
                  <c:v>0.7458628217316292</c:v>
                </c:pt>
                <c:pt idx="28">
                  <c:v>0.6721582901164461</c:v>
                </c:pt>
                <c:pt idx="29">
                  <c:v>0.7735148066258292</c:v>
                </c:pt>
                <c:pt idx="30">
                  <c:v>0.7262566041394019</c:v>
                </c:pt>
                <c:pt idx="31">
                  <c:v>0.7440106346314804</c:v>
                </c:pt>
                <c:pt idx="32">
                  <c:v>0.7724528632048646</c:v>
                </c:pt>
                <c:pt idx="33">
                  <c:v>0.7336042143090493</c:v>
                </c:pt>
                <c:pt idx="34">
                  <c:v>0.7357007386703933</c:v>
                </c:pt>
                <c:pt idx="35">
                  <c:v>0.7195270778212776</c:v>
                </c:pt>
                <c:pt idx="36">
                  <c:v>0.7817207104948308</c:v>
                </c:pt>
                <c:pt idx="37">
                  <c:v>0.6542655693849327</c:v>
                </c:pt>
                <c:pt idx="38">
                  <c:v>0.8161940848574193</c:v>
                </c:pt>
                <c:pt idx="39">
                  <c:v>0.7756315504337415</c:v>
                </c:pt>
                <c:pt idx="40">
                  <c:v>0.7355430491978329</c:v>
                </c:pt>
                <c:pt idx="41">
                  <c:v>0.7484759870562029</c:v>
                </c:pt>
                <c:pt idx="42">
                  <c:v>0.7389354981148738</c:v>
                </c:pt>
                <c:pt idx="43">
                  <c:v>0.7049555215074664</c:v>
                </c:pt>
                <c:pt idx="44">
                  <c:v>0.7728829761809926</c:v>
                </c:pt>
                <c:pt idx="45">
                  <c:v>0.8024176249982702</c:v>
                </c:pt>
                <c:pt idx="46">
                  <c:v>0.7920728541762806</c:v>
                </c:pt>
                <c:pt idx="47">
                  <c:v>0.7781688004368666</c:v>
                </c:pt>
                <c:pt idx="48">
                  <c:v>0.7394066071283151</c:v>
                </c:pt>
                <c:pt idx="49">
                  <c:v>0.7368819243644353</c:v>
                </c:pt>
                <c:pt idx="50">
                  <c:v>0.7165805683643633</c:v>
                </c:pt>
                <c:pt idx="51">
                  <c:v>0.7453252912567591</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412086068265882</c:v>
                </c:pt>
              </c:numCache>
            </c:numRef>
          </c:xVal>
          <c:yVal>
            <c:numRef>
              <c:f>Sheet1!$B$102:$B$103</c:f>
              <c:numCache>
                <c:formatCode>General</c:formatCode>
                <c:ptCount val="2"/>
                <c:pt idx="0">
                  <c:v>0.752867557939723</c:v>
                </c:pt>
                <c:pt idx="1">
                  <c:v>0.75286755793972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412086068265882</c:v>
                </c:pt>
                <c:pt idx="1">
                  <c:v>2.5412086068265882</c:v>
                </c:pt>
              </c:numCache>
            </c:numRef>
          </c:xVal>
          <c:yVal>
            <c:numRef>
              <c:f>Sheet1!$B$106:$B$107</c:f>
              <c:numCache>
                <c:formatCode>General</c:formatCode>
                <c:ptCount val="2"/>
                <c:pt idx="0">
                  <c:v>0.7528675579397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5412086068265882</c:v>
                </c:pt>
              </c:numCache>
            </c:numRef>
          </c:xVal>
          <c:yVal>
            <c:numRef>
              <c:f>Sheet1!$B$110:$B$111</c:f>
              <c:numCache>
                <c:formatCode>General</c:formatCode>
                <c:ptCount val="2"/>
                <c:pt idx="0">
                  <c:v>0.752867557939723</c:v>
                </c:pt>
                <c:pt idx="1">
                  <c:v>0.75286755793972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5412086068265882</c:v>
                </c:pt>
                <c:pt idx="1">
                  <c:v>2.5412086068265882</c:v>
                </c:pt>
              </c:numCache>
            </c:numRef>
          </c:xVal>
          <c:yVal>
            <c:numRef>
              <c:f>Sheet1!$B$114:$B$115</c:f>
              <c:numCache>
                <c:formatCode>General</c:formatCode>
                <c:ptCount val="2"/>
                <c:pt idx="0">
                  <c:v>0.75286755793972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541208606826587</c:v>
                </c:pt>
              </c:numCache>
            </c:numRef>
          </c:xVal>
          <c:yVal>
            <c:numRef>
              <c:f>Sheet1!$B$118:$B$119</c:f>
              <c:numCache>
                <c:formatCode>General</c:formatCode>
                <c:ptCount val="2"/>
                <c:pt idx="0">
                  <c:v>0.7528675579397232</c:v>
                </c:pt>
                <c:pt idx="1">
                  <c:v>0.7528675579397232</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541208606826587</c:v>
                </c:pt>
                <c:pt idx="1">
                  <c:v>2.541208606826587</c:v>
                </c:pt>
              </c:numCache>
            </c:numRef>
          </c:xVal>
          <c:yVal>
            <c:numRef>
              <c:f>Sheet1!$B$122:$B$123</c:f>
              <c:numCache>
                <c:formatCode>General</c:formatCode>
                <c:ptCount val="2"/>
                <c:pt idx="0">
                  <c:v>0.752867557939723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7273</c:v>
                </c:pt>
                <c:pt idx="1">
                  <c:v>2.7661</c:v>
                </c:pt>
                <c:pt idx="2">
                  <c:v>2.7685</c:v>
                </c:pt>
                <c:pt idx="3">
                  <c:v>2.7719</c:v>
                </c:pt>
                <c:pt idx="4">
                  <c:v>2.7656</c:v>
                </c:pt>
                <c:pt idx="5">
                  <c:v>2.7756</c:v>
                </c:pt>
                <c:pt idx="6">
                  <c:v>2.761</c:v>
                </c:pt>
                <c:pt idx="7">
                  <c:v>2.7619</c:v>
                </c:pt>
                <c:pt idx="8">
                  <c:v>2.5513</c:v>
                </c:pt>
                <c:pt idx="9">
                  <c:v>2.291</c:v>
                </c:pt>
                <c:pt idx="10">
                  <c:v>2.2807</c:v>
                </c:pt>
                <c:pt idx="11">
                  <c:v>2.528</c:v>
                </c:pt>
                <c:pt idx="12">
                  <c:v>2.7733</c:v>
                </c:pt>
                <c:pt idx="13">
                  <c:v>2.7678</c:v>
                </c:pt>
                <c:pt idx="14">
                  <c:v>2.5228</c:v>
                </c:pt>
                <c:pt idx="15">
                  <c:v>2.2891</c:v>
                </c:pt>
                <c:pt idx="16">
                  <c:v>2.2849</c:v>
                </c:pt>
                <c:pt idx="17">
                  <c:v>2.4367</c:v>
                </c:pt>
                <c:pt idx="18">
                  <c:v>2.77</c:v>
                </c:pt>
                <c:pt idx="19">
                  <c:v>2.7714</c:v>
                </c:pt>
                <c:pt idx="20">
                  <c:v>2.7628</c:v>
                </c:pt>
                <c:pt idx="21">
                  <c:v>2.774</c:v>
                </c:pt>
                <c:pt idx="22">
                  <c:v>2.7503</c:v>
                </c:pt>
                <c:pt idx="23">
                  <c:v>2.4771</c:v>
                </c:pt>
                <c:pt idx="24">
                  <c:v>2.2839</c:v>
                </c:pt>
                <c:pt idx="25">
                  <c:v>2.2845</c:v>
                </c:pt>
                <c:pt idx="26">
                  <c:v>2.3977</c:v>
                </c:pt>
                <c:pt idx="27">
                  <c:v>2.6475</c:v>
                </c:pt>
                <c:pt idx="28">
                  <c:v>2.6424</c:v>
                </c:pt>
                <c:pt idx="29">
                  <c:v>2.688</c:v>
                </c:pt>
                <c:pt idx="30">
                  <c:v>2.6866</c:v>
                </c:pt>
                <c:pt idx="31">
                  <c:v>2.6823</c:v>
                </c:pt>
                <c:pt idx="32">
                  <c:v>2.6946</c:v>
                </c:pt>
                <c:pt idx="33">
                  <c:v>2.6853</c:v>
                </c:pt>
                <c:pt idx="34">
                  <c:v>2.6909</c:v>
                </c:pt>
                <c:pt idx="35">
                  <c:v>2.6848</c:v>
                </c:pt>
                <c:pt idx="36">
                  <c:v>2.68</c:v>
                </c:pt>
                <c:pt idx="37">
                  <c:v>2.6973</c:v>
                </c:pt>
                <c:pt idx="38">
                  <c:v>2.3742</c:v>
                </c:pt>
                <c:pt idx="39">
                  <c:v>2.2264</c:v>
                </c:pt>
                <c:pt idx="40">
                  <c:v>2.2127</c:v>
                </c:pt>
                <c:pt idx="41">
                  <c:v>2.4237</c:v>
                </c:pt>
                <c:pt idx="42">
                  <c:v>2.6858</c:v>
                </c:pt>
                <c:pt idx="43">
                  <c:v>2.7037</c:v>
                </c:pt>
                <c:pt idx="44">
                  <c:v>2.4445</c:v>
                </c:pt>
                <c:pt idx="45">
                  <c:v>2.2172</c:v>
                </c:pt>
                <c:pt idx="46">
                  <c:v>2.217</c:v>
                </c:pt>
                <c:pt idx="47">
                  <c:v>2.4711</c:v>
                </c:pt>
                <c:pt idx="48">
                  <c:v>2.688</c:v>
                </c:pt>
                <c:pt idx="49">
                  <c:v>2.6966</c:v>
                </c:pt>
                <c:pt idx="50">
                  <c:v>2.6906</c:v>
                </c:pt>
                <c:pt idx="51">
                  <c:v>2.6891</c:v>
                </c:pt>
                <c:pt idx="52">
                  <c:v>2.5412086068265882</c:v>
                </c:pt>
                <c:pt idx="53">
                  <c:v>2.5412086068265882</c:v>
                </c:pt>
                <c:pt idx="54">
                  <c:v>2.541208606826587</c:v>
                </c:pt>
              </c:numCache>
            </c:numRef>
          </c:xVal>
          <c:yVal>
            <c:numRef>
              <c:f>Sheet1!$B$126:$B$180</c:f>
              <c:numCache>
                <c:formatCode>General</c:formatCode>
                <c:ptCount val="55"/>
                <c:pt idx="0">
                  <c:v>0.7383953683746618</c:v>
                </c:pt>
                <c:pt idx="1">
                  <c:v>0.7353779211647249</c:v>
                </c:pt>
                <c:pt idx="2">
                  <c:v>0.7351912749455536</c:v>
                </c:pt>
                <c:pt idx="3">
                  <c:v>0.7349268594683942</c:v>
                </c:pt>
                <c:pt idx="4">
                  <c:v>0.7354168057937189</c:v>
                </c:pt>
                <c:pt idx="5">
                  <c:v>0.7346391132138383</c:v>
                </c:pt>
                <c:pt idx="6">
                  <c:v>0.7357745443804641</c:v>
                </c:pt>
                <c:pt idx="7">
                  <c:v>0.7357045520482748</c:v>
                </c:pt>
                <c:pt idx="8">
                  <c:v>0.752082757780561</c:v>
                </c:pt>
                <c:pt idx="9">
                  <c:v>0.772326095634854</c:v>
                </c:pt>
                <c:pt idx="10">
                  <c:v>0.773127118992131</c:v>
                </c:pt>
                <c:pt idx="11">
                  <c:v>0.7538947814916829</c:v>
                </c:pt>
                <c:pt idx="12">
                  <c:v>0.7348179825072109</c:v>
                </c:pt>
                <c:pt idx="13">
                  <c:v>0.7352457134261452</c:v>
                </c:pt>
                <c:pt idx="14">
                  <c:v>0.7542991816332207</c:v>
                </c:pt>
                <c:pt idx="15">
                  <c:v>0.7724738572250314</c:v>
                </c:pt>
                <c:pt idx="16">
                  <c:v>0.7728004881085812</c:v>
                </c:pt>
                <c:pt idx="17">
                  <c:v>0.7609951147459931</c:v>
                </c:pt>
                <c:pt idx="18">
                  <c:v>0.7350746210585715</c:v>
                </c:pt>
                <c:pt idx="19">
                  <c:v>0.7349657440973882</c:v>
                </c:pt>
                <c:pt idx="20">
                  <c:v>0.7356345597160856</c:v>
                </c:pt>
                <c:pt idx="21">
                  <c:v>0.7347635440266193</c:v>
                </c:pt>
                <c:pt idx="22">
                  <c:v>0.7366066754409364</c:v>
                </c:pt>
                <c:pt idx="23">
                  <c:v>0.7578532367232753</c:v>
                </c:pt>
                <c:pt idx="24">
                  <c:v>0.7728782573665692</c:v>
                </c:pt>
                <c:pt idx="25">
                  <c:v>0.7728315958117764</c:v>
                </c:pt>
                <c:pt idx="26">
                  <c:v>0.7640281158075276</c:v>
                </c:pt>
                <c:pt idx="27">
                  <c:v>0.7446013551621093</c:v>
                </c:pt>
                <c:pt idx="28">
                  <c:v>0.7449979783778484</c:v>
                </c:pt>
                <c:pt idx="29">
                  <c:v>0.7414517002135927</c:v>
                </c:pt>
                <c:pt idx="30">
                  <c:v>0.741560577174776</c:v>
                </c:pt>
                <c:pt idx="31">
                  <c:v>0.7418949849841247</c:v>
                </c:pt>
                <c:pt idx="32">
                  <c:v>0.7409384231108715</c:v>
                </c:pt>
                <c:pt idx="33">
                  <c:v>0.7416616772101605</c:v>
                </c:pt>
                <c:pt idx="34">
                  <c:v>0.7412261693654273</c:v>
                </c:pt>
                <c:pt idx="35">
                  <c:v>0.7417005618391546</c:v>
                </c:pt>
                <c:pt idx="36">
                  <c:v>0.7420738542774972</c:v>
                </c:pt>
                <c:pt idx="37">
                  <c:v>0.7407284461143038</c:v>
                </c:pt>
                <c:pt idx="38">
                  <c:v>0.7658556933702471</c:v>
                </c:pt>
                <c:pt idx="39">
                  <c:v>0.7773499897008829</c:v>
                </c:pt>
                <c:pt idx="40">
                  <c:v>0.7784154285353193</c:v>
                </c:pt>
                <c:pt idx="41">
                  <c:v>0.7620061150998378</c:v>
                </c:pt>
                <c:pt idx="42">
                  <c:v>0.7416227925811665</c:v>
                </c:pt>
                <c:pt idx="43">
                  <c:v>0.7402307228631801</c:v>
                </c:pt>
                <c:pt idx="44">
                  <c:v>0.7603885145336862</c:v>
                </c:pt>
                <c:pt idx="45">
                  <c:v>0.7780654668743731</c:v>
                </c:pt>
                <c:pt idx="46">
                  <c:v>0.7780810207259707</c:v>
                </c:pt>
                <c:pt idx="47">
                  <c:v>0.7583198522712037</c:v>
                </c:pt>
                <c:pt idx="48">
                  <c:v>0.7414517002135927</c:v>
                </c:pt>
                <c:pt idx="49">
                  <c:v>0.7407828845948954</c:v>
                </c:pt>
                <c:pt idx="50">
                  <c:v>0.7412495001428238</c:v>
                </c:pt>
                <c:pt idx="51">
                  <c:v>0.7413661540298059</c:v>
                </c:pt>
                <c:pt idx="52">
                  <c:v>0.752867557939723</c:v>
                </c:pt>
                <c:pt idx="53">
                  <c:v>0.752867557939723</c:v>
                </c:pt>
                <c:pt idx="54">
                  <c:v>0.752867557939723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794329018289031"/>
          <c:min val="0.523412455507946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9420076434907612</c:v>
                </c:pt>
                <c:pt idx="1">
                  <c:v>0.9421397762738016</c:v>
                </c:pt>
                <c:pt idx="2">
                  <c:v>0.9419065315710128</c:v>
                </c:pt>
                <c:pt idx="3">
                  <c:v>0.941976650422466</c:v>
                </c:pt>
                <c:pt idx="4">
                  <c:v>0.9420406732117813</c:v>
                </c:pt>
                <c:pt idx="5">
                  <c:v>0.9421067396030578</c:v>
                </c:pt>
                <c:pt idx="6">
                  <c:v>0.9420406732117813</c:v>
                </c:pt>
                <c:pt idx="7">
                  <c:v>0.9421087695922016</c:v>
                </c:pt>
                <c:pt idx="8">
                  <c:v>0.9419746160858286</c:v>
                </c:pt>
                <c:pt idx="9">
                  <c:v>0.941976650422466</c:v>
                </c:pt>
                <c:pt idx="10">
                  <c:v>0.9420076434907612</c:v>
                </c:pt>
                <c:pt idx="11">
                  <c:v>0.9420737052491321</c:v>
                </c:pt>
                <c:pt idx="12">
                  <c:v>0.9421418051756785</c:v>
                </c:pt>
                <c:pt idx="13">
                  <c:v>0.9420386409060626</c:v>
                </c:pt>
                <c:pt idx="14">
                  <c:v>0.9419725816065355</c:v>
                </c:pt>
                <c:pt idx="15">
                  <c:v>0.9420076434907612</c:v>
                </c:pt>
                <c:pt idx="16">
                  <c:v>0.9421067396030578</c:v>
                </c:pt>
                <c:pt idx="17">
                  <c:v>0.9421087695922016</c:v>
                </c:pt>
                <c:pt idx="18">
                  <c:v>0.9420427053749868</c:v>
                </c:pt>
                <c:pt idx="19">
                  <c:v>0.9420406732117813</c:v>
                </c:pt>
                <c:pt idx="20">
                  <c:v>0.9421067396030578</c:v>
                </c:pt>
                <c:pt idx="21">
                  <c:v>0.9420406732117813</c:v>
                </c:pt>
                <c:pt idx="22">
                  <c:v>0.9421067396030578</c:v>
                </c:pt>
                <c:pt idx="23">
                  <c:v>0.9420406732117813</c:v>
                </c:pt>
                <c:pt idx="24">
                  <c:v>0.9421397762738016</c:v>
                </c:pt>
                <c:pt idx="25">
                  <c:v>0.9419415909967395</c:v>
                </c:pt>
                <c:pt idx="26">
                  <c:v>0.9420406732117813</c:v>
                </c:pt>
                <c:pt idx="27">
                  <c:v>0.9421067396030578</c:v>
                </c:pt>
                <c:pt idx="28">
                  <c:v>0.9420076434907612</c:v>
                </c:pt>
                <c:pt idx="29">
                  <c:v>0.9420757363253857</c:v>
                </c:pt>
                <c:pt idx="30">
                  <c:v>0.9421067396030578</c:v>
                </c:pt>
                <c:pt idx="31">
                  <c:v>0.9421067396030578</c:v>
                </c:pt>
                <c:pt idx="32">
                  <c:v>0.9420737052491321</c:v>
                </c:pt>
                <c:pt idx="33">
                  <c:v>0.9420737052491321</c:v>
                </c:pt>
                <c:pt idx="34">
                  <c:v>0.9420757363253857</c:v>
                </c:pt>
                <c:pt idx="35">
                  <c:v>0.9420737052491321</c:v>
                </c:pt>
                <c:pt idx="36">
                  <c:v>0.9420386409060626</c:v>
                </c:pt>
                <c:pt idx="37">
                  <c:v>0.9420406732117813</c:v>
                </c:pt>
                <c:pt idx="38">
                  <c:v>0.9421418051756785</c:v>
                </c:pt>
                <c:pt idx="39">
                  <c:v>0.9419746160858286</c:v>
                </c:pt>
                <c:pt idx="40">
                  <c:v>0.9419746160858286</c:v>
                </c:pt>
                <c:pt idx="41">
                  <c:v>0.9420737052491321</c:v>
                </c:pt>
                <c:pt idx="42">
                  <c:v>0.9419415909967395</c:v>
                </c:pt>
                <c:pt idx="43">
                  <c:v>0.9421418051756785</c:v>
                </c:pt>
              </c:numCache>
            </c:numRef>
          </c:xVal>
          <c:yVal>
            <c:numRef>
              <c:f>Sheet1!$B$2:$B$45</c:f>
              <c:numCache>
                <c:formatCode>General</c:formatCode>
                <c:ptCount val="44"/>
                <c:pt idx="0">
                  <c:v>0.6589075428296769</c:v>
                </c:pt>
                <c:pt idx="1">
                  <c:v>0.6654925270908246</c:v>
                </c:pt>
                <c:pt idx="2">
                  <c:v>0.7181537051884092</c:v>
                </c:pt>
                <c:pt idx="3">
                  <c:v>0.6606903714231053</c:v>
                </c:pt>
                <c:pt idx="4">
                  <c:v>0.6998635101426084</c:v>
                </c:pt>
                <c:pt idx="5">
                  <c:v>0.7020122359239078</c:v>
                </c:pt>
                <c:pt idx="6">
                  <c:v>0.6873107407114832</c:v>
                </c:pt>
                <c:pt idx="7">
                  <c:v>0.6509713140184239</c:v>
                </c:pt>
                <c:pt idx="8">
                  <c:v>0.6661274102575314</c:v>
                </c:pt>
                <c:pt idx="9">
                  <c:v>0.6467870109426969</c:v>
                </c:pt>
                <c:pt idx="10">
                  <c:v>0.6523832195947733</c:v>
                </c:pt>
                <c:pt idx="11">
                  <c:v>0.6586452999389775</c:v>
                </c:pt>
                <c:pt idx="12">
                  <c:v>0.6700501124974433</c:v>
                </c:pt>
                <c:pt idx="13">
                  <c:v>0.6916661193931831</c:v>
                </c:pt>
                <c:pt idx="14">
                  <c:v>0.6834437086092715</c:v>
                </c:pt>
                <c:pt idx="15">
                  <c:v>0.6801608207403299</c:v>
                </c:pt>
                <c:pt idx="16">
                  <c:v>0.6354442077161999</c:v>
                </c:pt>
                <c:pt idx="17">
                  <c:v>0.6856527010642597</c:v>
                </c:pt>
                <c:pt idx="18">
                  <c:v>0.7082033400623968</c:v>
                </c:pt>
                <c:pt idx="19">
                  <c:v>0.6824633633720093</c:v>
                </c:pt>
                <c:pt idx="20">
                  <c:v>0.728625603309584</c:v>
                </c:pt>
                <c:pt idx="21">
                  <c:v>0.6914407624701435</c:v>
                </c:pt>
                <c:pt idx="22">
                  <c:v>0.6790274029478929</c:v>
                </c:pt>
                <c:pt idx="23">
                  <c:v>0.7216016811713378</c:v>
                </c:pt>
                <c:pt idx="24">
                  <c:v>0.7223072996426748</c:v>
                </c:pt>
                <c:pt idx="25">
                  <c:v>0.6737562366357804</c:v>
                </c:pt>
                <c:pt idx="26">
                  <c:v>0.6788928510782816</c:v>
                </c:pt>
                <c:pt idx="27">
                  <c:v>0.6217411190730294</c:v>
                </c:pt>
                <c:pt idx="28">
                  <c:v>0.6606935577481138</c:v>
                </c:pt>
                <c:pt idx="29">
                  <c:v>0.6452843075872275</c:v>
                </c:pt>
                <c:pt idx="30">
                  <c:v>0.6667162071784202</c:v>
                </c:pt>
                <c:pt idx="31">
                  <c:v>0.6727563142657482</c:v>
                </c:pt>
                <c:pt idx="32">
                  <c:v>0.6847950027266868</c:v>
                </c:pt>
                <c:pt idx="33">
                  <c:v>0.5898501554990104</c:v>
                </c:pt>
                <c:pt idx="34">
                  <c:v>0.6657734697206236</c:v>
                </c:pt>
                <c:pt idx="35">
                  <c:v>0.66684359927073</c:v>
                </c:pt>
                <c:pt idx="36">
                  <c:v>0.695145225741039</c:v>
                </c:pt>
                <c:pt idx="37">
                  <c:v>0.6607056782030271</c:v>
                </c:pt>
                <c:pt idx="38">
                  <c:v>0.6690307912815697</c:v>
                </c:pt>
                <c:pt idx="39">
                  <c:v>0.6917789260011072</c:v>
                </c:pt>
                <c:pt idx="40">
                  <c:v>0.6810860313526909</c:v>
                </c:pt>
                <c:pt idx="41">
                  <c:v>0.6990303914924673</c:v>
                </c:pt>
                <c:pt idx="42">
                  <c:v>0.7078084916265529</c:v>
                </c:pt>
                <c:pt idx="43">
                  <c:v>0.713011532561970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922866559147325</c:v>
                </c:pt>
                <c:pt idx="1">
                  <c:v>0.9511536573392243</c:v>
                </c:pt>
                <c:pt idx="2">
                  <c:v>0.9507696623303762</c:v>
                </c:pt>
                <c:pt idx="3">
                  <c:v>0.9509099197026544</c:v>
                </c:pt>
                <c:pt idx="4">
                  <c:v>0.9511203057610715</c:v>
                </c:pt>
                <c:pt idx="5">
                  <c:v>0.9495810104835033</c:v>
                </c:pt>
                <c:pt idx="6">
                  <c:v>0.947405329593268</c:v>
                </c:pt>
                <c:pt idx="7">
                  <c:v>0.9520653622273653</c:v>
                </c:pt>
                <c:pt idx="8">
                  <c:v>0.9527699859747546</c:v>
                </c:pt>
                <c:pt idx="9">
                  <c:v>0.9494722816368035</c:v>
                </c:pt>
                <c:pt idx="10">
                  <c:v>0.9494057010623751</c:v>
                </c:pt>
                <c:pt idx="11">
                  <c:v>0.9490164451768996</c:v>
                </c:pt>
                <c:pt idx="12">
                  <c:v>0.9531907433380085</c:v>
                </c:pt>
                <c:pt idx="13">
                  <c:v>0.9608991443400197</c:v>
                </c:pt>
                <c:pt idx="14">
                  <c:v>0.9421047094715432</c:v>
                </c:pt>
                <c:pt idx="15">
                  <c:v>0.9543462253234685</c:v>
                </c:pt>
                <c:pt idx="16">
                  <c:v>0.9496090051548199</c:v>
                </c:pt>
                <c:pt idx="17">
                  <c:v>0.9457497545237761</c:v>
                </c:pt>
                <c:pt idx="18">
                  <c:v>0.9571513727690311</c:v>
                </c:pt>
                <c:pt idx="19">
                  <c:v>0.945617110799439</c:v>
                </c:pt>
                <c:pt idx="20">
                  <c:v>0.9549789621318373</c:v>
                </c:pt>
                <c:pt idx="21">
                  <c:v>0.948913043478261</c:v>
                </c:pt>
                <c:pt idx="22">
                  <c:v>0.8615007012622721</c:v>
                </c:pt>
                <c:pt idx="23">
                  <c:v>0.8567521127748361</c:v>
                </c:pt>
                <c:pt idx="24">
                  <c:v>0.8632092012062558</c:v>
                </c:pt>
                <c:pt idx="25">
                  <c:v>0.9347124824684432</c:v>
                </c:pt>
                <c:pt idx="26">
                  <c:v>0.8887096774193549</c:v>
                </c:pt>
                <c:pt idx="27">
                  <c:v>0.8851562226040607</c:v>
                </c:pt>
                <c:pt idx="28">
                  <c:v>0.8913119697075941</c:v>
                </c:pt>
                <c:pt idx="29">
                  <c:v>0.8913508396732462</c:v>
                </c:pt>
                <c:pt idx="30">
                  <c:v>0.8834151472650771</c:v>
                </c:pt>
                <c:pt idx="31">
                  <c:v>0.8883278987412783</c:v>
                </c:pt>
                <c:pt idx="32">
                  <c:v>0.8942884190596403</c:v>
                </c:pt>
                <c:pt idx="33">
                  <c:v>0.8765471056414571</c:v>
                </c:pt>
                <c:pt idx="34">
                  <c:v>0.8958625525946705</c:v>
                </c:pt>
                <c:pt idx="35">
                  <c:v>0.8901472650771389</c:v>
                </c:pt>
                <c:pt idx="36">
                  <c:v>0.8814949863263447</c:v>
                </c:pt>
                <c:pt idx="37">
                  <c:v>0.8886278360276326</c:v>
                </c:pt>
                <c:pt idx="38">
                  <c:v>0.8887447405329594</c:v>
                </c:pt>
                <c:pt idx="39">
                  <c:v>0.8886589984570066</c:v>
                </c:pt>
                <c:pt idx="40">
                  <c:v>0.8856161021109474</c:v>
                </c:pt>
                <c:pt idx="41">
                  <c:v>0.8961357738971878</c:v>
                </c:pt>
                <c:pt idx="42">
                  <c:v>0.8934670547392782</c:v>
                </c:pt>
                <c:pt idx="43">
                  <c:v>0.8901083488200848</c:v>
                </c:pt>
                <c:pt idx="44">
                  <c:v>0.8804305901328938</c:v>
                </c:pt>
                <c:pt idx="45">
                  <c:v>0.8986920082757653</c:v>
                </c:pt>
                <c:pt idx="46">
                  <c:v>0.88974610744845</c:v>
                </c:pt>
                <c:pt idx="47">
                  <c:v>0.887131837307153</c:v>
                </c:pt>
                <c:pt idx="48">
                  <c:v>0.8888694066488989</c:v>
                </c:pt>
                <c:pt idx="49">
                  <c:v>0.8879694238928433</c:v>
                </c:pt>
                <c:pt idx="50">
                  <c:v>0.8920056100981768</c:v>
                </c:pt>
                <c:pt idx="51">
                  <c:v>0.8809957924263675</c:v>
                </c:pt>
              </c:numCache>
            </c:numRef>
          </c:xVal>
          <c:yVal>
            <c:numRef>
              <c:f>Sheet1!$B$48:$B$99</c:f>
              <c:numCache>
                <c:formatCode>General</c:formatCode>
                <c:ptCount val="52"/>
                <c:pt idx="0">
                  <c:v>0.7293646965354822</c:v>
                </c:pt>
                <c:pt idx="1">
                  <c:v>0.7145195849483593</c:v>
                </c:pt>
                <c:pt idx="2">
                  <c:v>0.7036083598760854</c:v>
                </c:pt>
                <c:pt idx="3">
                  <c:v>0.6594465976549085</c:v>
                </c:pt>
                <c:pt idx="4">
                  <c:v>0.7368772782503038</c:v>
                </c:pt>
                <c:pt idx="5">
                  <c:v>0.6890837091125507</c:v>
                </c:pt>
                <c:pt idx="6">
                  <c:v>0.6934379142730889</c:v>
                </c:pt>
                <c:pt idx="7">
                  <c:v>0.7227855366366941</c:v>
                </c:pt>
                <c:pt idx="8">
                  <c:v>0.669632112772907</c:v>
                </c:pt>
                <c:pt idx="9">
                  <c:v>0.691899239624485</c:v>
                </c:pt>
                <c:pt idx="10">
                  <c:v>0.6953950428599907</c:v>
                </c:pt>
                <c:pt idx="11">
                  <c:v>0.6958955627120842</c:v>
                </c:pt>
                <c:pt idx="12">
                  <c:v>0.7015309058819016</c:v>
                </c:pt>
                <c:pt idx="13">
                  <c:v>0.6925142665323935</c:v>
                </c:pt>
                <c:pt idx="14">
                  <c:v>0.661204645718916</c:v>
                </c:pt>
                <c:pt idx="15">
                  <c:v>0.6925341401586393</c:v>
                </c:pt>
                <c:pt idx="16">
                  <c:v>0.6798121106913101</c:v>
                </c:pt>
                <c:pt idx="17">
                  <c:v>0.6845681462628715</c:v>
                </c:pt>
                <c:pt idx="18">
                  <c:v>0.7038616338518437</c:v>
                </c:pt>
                <c:pt idx="19">
                  <c:v>0.6814969781496978</c:v>
                </c:pt>
                <c:pt idx="20">
                  <c:v>0.6965514294260929</c:v>
                </c:pt>
                <c:pt idx="21">
                  <c:v>0.7199698875488151</c:v>
                </c:pt>
                <c:pt idx="22">
                  <c:v>0.6602592140703055</c:v>
                </c:pt>
                <c:pt idx="23">
                  <c:v>0.675682585131404</c:v>
                </c:pt>
                <c:pt idx="24">
                  <c:v>0.723388145760935</c:v>
                </c:pt>
                <c:pt idx="25">
                  <c:v>0.7234249167043381</c:v>
                </c:pt>
                <c:pt idx="26">
                  <c:v>0.6954464096107758</c:v>
                </c:pt>
                <c:pt idx="27">
                  <c:v>0.688368204424627</c:v>
                </c:pt>
                <c:pt idx="28">
                  <c:v>0.6989818835154963</c:v>
                </c:pt>
                <c:pt idx="29">
                  <c:v>0.6855965021861337</c:v>
                </c:pt>
                <c:pt idx="30">
                  <c:v>0.7268080854661441</c:v>
                </c:pt>
                <c:pt idx="31">
                  <c:v>0.7130896019638786</c:v>
                </c:pt>
                <c:pt idx="32">
                  <c:v>0.7500715717148583</c:v>
                </c:pt>
                <c:pt idx="33">
                  <c:v>0.6990562580172256</c:v>
                </c:pt>
                <c:pt idx="34">
                  <c:v>0.6923002942930235</c:v>
                </c:pt>
                <c:pt idx="35">
                  <c:v>0.6680664555509661</c:v>
                </c:pt>
                <c:pt idx="36">
                  <c:v>0.6963146629368259</c:v>
                </c:pt>
                <c:pt idx="37">
                  <c:v>0.6834120096472965</c:v>
                </c:pt>
                <c:pt idx="38">
                  <c:v>0.6813829470887933</c:v>
                </c:pt>
                <c:pt idx="39">
                  <c:v>0.67309180987769</c:v>
                </c:pt>
                <c:pt idx="40">
                  <c:v>0.6707068958053763</c:v>
                </c:pt>
                <c:pt idx="41">
                  <c:v>0.674028456147802</c:v>
                </c:pt>
                <c:pt idx="42">
                  <c:v>0.6818340629303081</c:v>
                </c:pt>
                <c:pt idx="43">
                  <c:v>0.7041397212860916</c:v>
                </c:pt>
                <c:pt idx="44">
                  <c:v>0.6964378400199926</c:v>
                </c:pt>
                <c:pt idx="45">
                  <c:v>0.6813164893617021</c:v>
                </c:pt>
                <c:pt idx="46">
                  <c:v>0.6883757859273406</c:v>
                </c:pt>
                <c:pt idx="47">
                  <c:v>0.6825002587188244</c:v>
                </c:pt>
                <c:pt idx="48">
                  <c:v>0.7033627884143349</c:v>
                </c:pt>
                <c:pt idx="49">
                  <c:v>0.6554066805057558</c:v>
                </c:pt>
                <c:pt idx="50">
                  <c:v>0.7440563788993678</c:v>
                </c:pt>
                <c:pt idx="51">
                  <c:v>0.7129136982595364</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0113469785508569</c:v>
                </c:pt>
              </c:numCache>
            </c:numRef>
          </c:xVal>
          <c:yVal>
            <c:numRef>
              <c:f>Sheet1!$B$102:$B$103</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0113469785508569</c:v>
                </c:pt>
                <c:pt idx="1">
                  <c:v>1.0113469785508569</c:v>
                </c:pt>
              </c:numCache>
            </c:numRef>
          </c:xVal>
          <c:yVal>
            <c:numRef>
              <c:f>Sheet1!$B$106:$B$107</c:f>
              <c:numCache>
                <c:formatCode>General</c:formatCode>
                <c:ptCount val="2"/>
                <c:pt idx="0">
                  <c:v>0.70026742624144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0113469785508569</c:v>
                </c:pt>
              </c:numCache>
            </c:numRef>
          </c:xVal>
          <c:yVal>
            <c:numRef>
              <c:f>Sheet1!$B$110:$B$111</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0113469785508569</c:v>
                </c:pt>
                <c:pt idx="1">
                  <c:v>1.0113469785508569</c:v>
                </c:pt>
              </c:numCache>
            </c:numRef>
          </c:xVal>
          <c:yVal>
            <c:numRef>
              <c:f>Sheet1!$B$114:$B$115</c:f>
              <c:numCache>
                <c:formatCode>General</c:formatCode>
                <c:ptCount val="2"/>
                <c:pt idx="0">
                  <c:v>0.70026742624144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140917584169182</c:v>
                </c:pt>
              </c:numCache>
            </c:numRef>
          </c:xVal>
          <c:yVal>
            <c:numRef>
              <c:f>Sheet1!$B$118:$B$119</c:f>
              <c:numCache>
                <c:formatCode>General</c:formatCode>
                <c:ptCount val="2"/>
                <c:pt idx="0">
                  <c:v>0.689859297396471</c:v>
                </c:pt>
                <c:pt idx="1">
                  <c:v>0.68985929739647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140917584169182</c:v>
                </c:pt>
                <c:pt idx="1">
                  <c:v>0.8140917584169182</c:v>
                </c:pt>
              </c:numCache>
            </c:numRef>
          </c:xVal>
          <c:yVal>
            <c:numRef>
              <c:f>Sheet1!$B$122:$B$123</c:f>
              <c:numCache>
                <c:formatCode>General</c:formatCode>
                <c:ptCount val="2"/>
                <c:pt idx="0">
                  <c:v>0.68985929739647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922866559147325</c:v>
                </c:pt>
                <c:pt idx="1">
                  <c:v>0.9511536573392243</c:v>
                </c:pt>
                <c:pt idx="2">
                  <c:v>0.9507696623303762</c:v>
                </c:pt>
                <c:pt idx="3">
                  <c:v>0.9509099197026544</c:v>
                </c:pt>
                <c:pt idx="4">
                  <c:v>0.9511203057610715</c:v>
                </c:pt>
                <c:pt idx="5">
                  <c:v>0.9495810104835033</c:v>
                </c:pt>
                <c:pt idx="6">
                  <c:v>0.947405329593268</c:v>
                </c:pt>
                <c:pt idx="7">
                  <c:v>0.9520653622273653</c:v>
                </c:pt>
                <c:pt idx="8">
                  <c:v>0.9527699859747546</c:v>
                </c:pt>
                <c:pt idx="9">
                  <c:v>0.9494722816368035</c:v>
                </c:pt>
                <c:pt idx="10">
                  <c:v>0.9494057010623751</c:v>
                </c:pt>
                <c:pt idx="11">
                  <c:v>0.9490164451768996</c:v>
                </c:pt>
                <c:pt idx="12">
                  <c:v>0.9531907433380085</c:v>
                </c:pt>
                <c:pt idx="13">
                  <c:v>0.9608991443400197</c:v>
                </c:pt>
                <c:pt idx="14">
                  <c:v>0.9421047094715432</c:v>
                </c:pt>
                <c:pt idx="15">
                  <c:v>0.9543462253234685</c:v>
                </c:pt>
                <c:pt idx="16">
                  <c:v>0.9496090051548199</c:v>
                </c:pt>
                <c:pt idx="17">
                  <c:v>0.9457497545237761</c:v>
                </c:pt>
                <c:pt idx="18">
                  <c:v>0.9571513727690311</c:v>
                </c:pt>
                <c:pt idx="19">
                  <c:v>0.945617110799439</c:v>
                </c:pt>
                <c:pt idx="20">
                  <c:v>0.9549789621318373</c:v>
                </c:pt>
                <c:pt idx="21">
                  <c:v>0.948913043478261</c:v>
                </c:pt>
                <c:pt idx="22">
                  <c:v>0.8615007012622721</c:v>
                </c:pt>
                <c:pt idx="23">
                  <c:v>0.8567521127748361</c:v>
                </c:pt>
                <c:pt idx="24">
                  <c:v>0.8632092012062558</c:v>
                </c:pt>
                <c:pt idx="25">
                  <c:v>0.9347124824684432</c:v>
                </c:pt>
                <c:pt idx="26">
                  <c:v>0.8887096774193549</c:v>
                </c:pt>
                <c:pt idx="27">
                  <c:v>0.8851562226040607</c:v>
                </c:pt>
                <c:pt idx="28">
                  <c:v>0.8913119697075941</c:v>
                </c:pt>
                <c:pt idx="29">
                  <c:v>0.8913508396732462</c:v>
                </c:pt>
                <c:pt idx="30">
                  <c:v>0.8834151472650771</c:v>
                </c:pt>
                <c:pt idx="31">
                  <c:v>0.8883278987412783</c:v>
                </c:pt>
                <c:pt idx="32">
                  <c:v>0.8942884190596403</c:v>
                </c:pt>
                <c:pt idx="33">
                  <c:v>0.8765471056414571</c:v>
                </c:pt>
                <c:pt idx="34">
                  <c:v>0.8958625525946705</c:v>
                </c:pt>
                <c:pt idx="35">
                  <c:v>0.8901472650771389</c:v>
                </c:pt>
                <c:pt idx="36">
                  <c:v>0.8814949863263447</c:v>
                </c:pt>
                <c:pt idx="37">
                  <c:v>0.8886278360276326</c:v>
                </c:pt>
                <c:pt idx="38">
                  <c:v>0.8887447405329594</c:v>
                </c:pt>
                <c:pt idx="39">
                  <c:v>0.8886589984570066</c:v>
                </c:pt>
                <c:pt idx="40">
                  <c:v>0.8856161021109474</c:v>
                </c:pt>
                <c:pt idx="41">
                  <c:v>0.8961357738971878</c:v>
                </c:pt>
                <c:pt idx="42">
                  <c:v>0.8934670547392782</c:v>
                </c:pt>
                <c:pt idx="43">
                  <c:v>0.8901083488200848</c:v>
                </c:pt>
                <c:pt idx="44">
                  <c:v>0.8804305901328938</c:v>
                </c:pt>
                <c:pt idx="45">
                  <c:v>0.8986920082757653</c:v>
                </c:pt>
                <c:pt idx="46">
                  <c:v>0.88974610744845</c:v>
                </c:pt>
                <c:pt idx="47">
                  <c:v>0.887131837307153</c:v>
                </c:pt>
                <c:pt idx="48">
                  <c:v>0.8888694066488989</c:v>
                </c:pt>
                <c:pt idx="49">
                  <c:v>0.8879694238928433</c:v>
                </c:pt>
                <c:pt idx="50">
                  <c:v>0.8920056100981768</c:v>
                </c:pt>
                <c:pt idx="51">
                  <c:v>0.8809957924263675</c:v>
                </c:pt>
                <c:pt idx="52">
                  <c:v>1.0113469785508569</c:v>
                </c:pt>
                <c:pt idx="53">
                  <c:v>1.0113469785508569</c:v>
                </c:pt>
                <c:pt idx="54">
                  <c:v>0.8140917584169182</c:v>
                </c:pt>
              </c:numCache>
            </c:numRef>
          </c:xVal>
          <c:yVal>
            <c:numRef>
              <c:f>Sheet1!$B$126:$B$180</c:f>
              <c:numCache>
                <c:formatCode>General</c:formatCode>
                <c:ptCount val="55"/>
                <c:pt idx="0">
                  <c:v>0.6955987761302667</c:v>
                </c:pt>
                <c:pt idx="1">
                  <c:v>0.6970913387221814</c:v>
                </c:pt>
                <c:pt idx="2">
                  <c:v>0.6970710773089464</c:v>
                </c:pt>
                <c:pt idx="3">
                  <c:v>0.6970784779587296</c:v>
                </c:pt>
                <c:pt idx="4">
                  <c:v>0.6970895789334045</c:v>
                </c:pt>
                <c:pt idx="5">
                  <c:v>0.6970083583524307</c:v>
                </c:pt>
                <c:pt idx="6">
                  <c:v>0.6968935590228325</c:v>
                </c:pt>
                <c:pt idx="7">
                  <c:v>0.6971394446325747</c:v>
                </c:pt>
                <c:pt idx="8">
                  <c:v>0.6971766239515559</c:v>
                </c:pt>
                <c:pt idx="9">
                  <c:v>0.6970026212984513</c:v>
                </c:pt>
                <c:pt idx="10">
                  <c:v>0.6969991081889034</c:v>
                </c:pt>
                <c:pt idx="11">
                  <c:v>0.6969785691866557</c:v>
                </c:pt>
                <c:pt idx="12">
                  <c:v>0.6971988251224361</c:v>
                </c:pt>
                <c:pt idx="13">
                  <c:v>0.6976055572269818</c:v>
                </c:pt>
                <c:pt idx="14">
                  <c:v>0.6966138729534461</c:v>
                </c:pt>
                <c:pt idx="15">
                  <c:v>0.6972597938784192</c:v>
                </c:pt>
                <c:pt idx="16">
                  <c:v>0.697009835485182</c:v>
                </c:pt>
                <c:pt idx="17">
                  <c:v>0.6968062029638946</c:v>
                </c:pt>
                <c:pt idx="18">
                  <c:v>0.6974078068740841</c:v>
                </c:pt>
                <c:pt idx="19">
                  <c:v>0.6967992040465912</c:v>
                </c:pt>
                <c:pt idx="20">
                  <c:v>0.6972931800986774</c:v>
                </c:pt>
                <c:pt idx="21">
                  <c:v>0.6969731132184868</c:v>
                </c:pt>
                <c:pt idx="22">
                  <c:v>0.6923608199681099</c:v>
                </c:pt>
                <c:pt idx="23">
                  <c:v>0.6921102617280013</c:v>
                </c:pt>
                <c:pt idx="24">
                  <c:v>0.6924509685965546</c:v>
                </c:pt>
                <c:pt idx="25">
                  <c:v>0.6962238237012774</c:v>
                </c:pt>
                <c:pt idx="26">
                  <c:v>0.6937964956850343</c:v>
                </c:pt>
                <c:pt idx="27">
                  <c:v>0.6936089984135437</c:v>
                </c:pt>
                <c:pt idx="28">
                  <c:v>0.6939338050723849</c:v>
                </c:pt>
                <c:pt idx="29">
                  <c:v>0.6939358560376796</c:v>
                </c:pt>
                <c:pt idx="30">
                  <c:v>0.6935171309514575</c:v>
                </c:pt>
                <c:pt idx="31">
                  <c:v>0.6937763512160109</c:v>
                </c:pt>
                <c:pt idx="32">
                  <c:v>0.6940908567759373</c:v>
                </c:pt>
                <c:pt idx="33">
                  <c:v>0.69315474022698</c:v>
                </c:pt>
                <c:pt idx="34">
                  <c:v>0.694173915589999</c:v>
                </c:pt>
                <c:pt idx="35">
                  <c:v>0.6938723496855419</c:v>
                </c:pt>
                <c:pt idx="36">
                  <c:v>0.6934158140765994</c:v>
                </c:pt>
                <c:pt idx="37">
                  <c:v>0.6937921773417767</c:v>
                </c:pt>
                <c:pt idx="38">
                  <c:v>0.6937983457826077</c:v>
                </c:pt>
                <c:pt idx="39">
                  <c:v>0.6937938216205939</c:v>
                </c:pt>
                <c:pt idx="40">
                  <c:v>0.6936332638558351</c:v>
                </c:pt>
                <c:pt idx="41">
                  <c:v>0.6941883320526805</c:v>
                </c:pt>
                <c:pt idx="42">
                  <c:v>0.6940475176659802</c:v>
                </c:pt>
                <c:pt idx="43">
                  <c:v>0.6938702962776914</c:v>
                </c:pt>
                <c:pt idx="44">
                  <c:v>0.6933596514426472</c:v>
                </c:pt>
                <c:pt idx="45">
                  <c:v>0.6943232112044319</c:v>
                </c:pt>
                <c:pt idx="46">
                  <c:v>0.6938511826903987</c:v>
                </c:pt>
                <c:pt idx="47">
                  <c:v>0.6937132412942333</c:v>
                </c:pt>
                <c:pt idx="48">
                  <c:v>0.6938049237631367</c:v>
                </c:pt>
                <c:pt idx="49">
                  <c:v>0.6937574363684968</c:v>
                </c:pt>
                <c:pt idx="50">
                  <c:v>0.6939704048569297</c:v>
                </c:pt>
                <c:pt idx="51">
                  <c:v>0.693389474218896</c:v>
                </c:pt>
                <c:pt idx="52">
                  <c:v>0.7002674262414493</c:v>
                </c:pt>
                <c:pt idx="53">
                  <c:v>0.7002674262414493</c:v>
                </c:pt>
                <c:pt idx="54">
                  <c:v>0.68985929739647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00858860578299"/>
          <c:min val="0.471880124399208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0667</c:v>
                </c:pt>
                <c:pt idx="1">
                  <c:v>2.0667</c:v>
                </c:pt>
                <c:pt idx="2">
                  <c:v>1.9451</c:v>
                </c:pt>
                <c:pt idx="3">
                  <c:v>1.8594</c:v>
                </c:pt>
                <c:pt idx="4">
                  <c:v>1.8594</c:v>
                </c:pt>
                <c:pt idx="5">
                  <c:v>1.8594</c:v>
                </c:pt>
                <c:pt idx="6">
                  <c:v>1.8955</c:v>
                </c:pt>
                <c:pt idx="7">
                  <c:v>2.0667</c:v>
                </c:pt>
                <c:pt idx="8">
                  <c:v>2.0667</c:v>
                </c:pt>
                <c:pt idx="9">
                  <c:v>2.0667</c:v>
                </c:pt>
                <c:pt idx="10">
                  <c:v>2.0667</c:v>
                </c:pt>
                <c:pt idx="11">
                  <c:v>2.0658</c:v>
                </c:pt>
                <c:pt idx="12">
                  <c:v>2.0667</c:v>
                </c:pt>
                <c:pt idx="13">
                  <c:v>1.91</c:v>
                </c:pt>
                <c:pt idx="14">
                  <c:v>1.8604</c:v>
                </c:pt>
                <c:pt idx="15">
                  <c:v>1.8604</c:v>
                </c:pt>
                <c:pt idx="16">
                  <c:v>1.8604</c:v>
                </c:pt>
                <c:pt idx="17">
                  <c:v>2.0225</c:v>
                </c:pt>
                <c:pt idx="18">
                  <c:v>2.0667</c:v>
                </c:pt>
                <c:pt idx="19">
                  <c:v>1.9336</c:v>
                </c:pt>
                <c:pt idx="20">
                  <c:v>1.8604</c:v>
                </c:pt>
                <c:pt idx="21">
                  <c:v>1.8625</c:v>
                </c:pt>
                <c:pt idx="22">
                  <c:v>1.9952</c:v>
                </c:pt>
                <c:pt idx="23">
                  <c:v>2.0667</c:v>
                </c:pt>
                <c:pt idx="24">
                  <c:v>1.9468</c:v>
                </c:pt>
                <c:pt idx="25">
                  <c:v>1.8604</c:v>
                </c:pt>
                <c:pt idx="26">
                  <c:v>2.1441</c:v>
                </c:pt>
                <c:pt idx="27">
                  <c:v>2.1698</c:v>
                </c:pt>
                <c:pt idx="28">
                  <c:v>2.0777</c:v>
                </c:pt>
                <c:pt idx="29">
                  <c:v>2.1365</c:v>
                </c:pt>
                <c:pt idx="30">
                  <c:v>2.0881</c:v>
                </c:pt>
                <c:pt idx="31">
                  <c:v>2.0754</c:v>
                </c:pt>
                <c:pt idx="32">
                  <c:v>1.9835</c:v>
                </c:pt>
                <c:pt idx="33">
                  <c:v>2.0024</c:v>
                </c:pt>
                <c:pt idx="34">
                  <c:v>2.1118</c:v>
                </c:pt>
                <c:pt idx="35">
                  <c:v>2.2054</c:v>
                </c:pt>
                <c:pt idx="36">
                  <c:v>2.1909</c:v>
                </c:pt>
                <c:pt idx="37">
                  <c:v>2.1231</c:v>
                </c:pt>
                <c:pt idx="38">
                  <c:v>2.0464</c:v>
                </c:pt>
                <c:pt idx="39">
                  <c:v>1.965</c:v>
                </c:pt>
                <c:pt idx="40">
                  <c:v>1.9914</c:v>
                </c:pt>
                <c:pt idx="41">
                  <c:v>2.2571</c:v>
                </c:pt>
                <c:pt idx="42">
                  <c:v>2.2294</c:v>
                </c:pt>
                <c:pt idx="43">
                  <c:v>2.2091</c:v>
                </c:pt>
              </c:numCache>
            </c:numRef>
          </c:xVal>
          <c:yVal>
            <c:numRef>
              <c:f>Sheet1!$B$2:$B$45</c:f>
              <c:numCache>
                <c:formatCode>General</c:formatCode>
                <c:ptCount val="4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pt idx="14">
                  <c:v>0.08946308680196463</c:v>
                </c:pt>
                <c:pt idx="15">
                  <c:v>0.08211715576959872</c:v>
                </c:pt>
                <c:pt idx="16">
                  <c:v>0.08722805915124317</c:v>
                </c:pt>
                <c:pt idx="17">
                  <c:v>0.09352473407001963</c:v>
                </c:pt>
                <c:pt idx="18">
                  <c:v>0.08434838038740794</c:v>
                </c:pt>
                <c:pt idx="19">
                  <c:v>0.10126460157857697</c:v>
                </c:pt>
                <c:pt idx="20">
                  <c:v>0.07882558904537294</c:v>
                </c:pt>
                <c:pt idx="21">
                  <c:v>0.09088138788813294</c:v>
                </c:pt>
                <c:pt idx="22">
                  <c:v>0.08492839959843161</c:v>
                </c:pt>
                <c:pt idx="23">
                  <c:v>0.08002557033840745</c:v>
                </c:pt>
                <c:pt idx="24">
                  <c:v>0.08870839802424595</c:v>
                </c:pt>
                <c:pt idx="25">
                  <c:v>0.08814101892275535</c:v>
                </c:pt>
                <c:pt idx="26">
                  <c:v>0.11186490368356827</c:v>
                </c:pt>
                <c:pt idx="27">
                  <c:v>0.1066226193722102</c:v>
                </c:pt>
                <c:pt idx="28">
                  <c:v>0.09392703501447323</c:v>
                </c:pt>
                <c:pt idx="29">
                  <c:v>0.08661220393852827</c:v>
                </c:pt>
                <c:pt idx="30">
                  <c:v>0.09252925564217239</c:v>
                </c:pt>
                <c:pt idx="31">
                  <c:v>0.09248728319016201</c:v>
                </c:pt>
                <c:pt idx="32">
                  <c:v>0.10394504920570757</c:v>
                </c:pt>
                <c:pt idx="33">
                  <c:v>0.10114623982935728</c:v>
                </c:pt>
                <c:pt idx="34">
                  <c:v>0.09829188235760701</c:v>
                </c:pt>
                <c:pt idx="35">
                  <c:v>0.08891287191490223</c:v>
                </c:pt>
                <c:pt idx="36">
                  <c:v>0.08112231423225112</c:v>
                </c:pt>
                <c:pt idx="37">
                  <c:v>0.1138048308388539</c:v>
                </c:pt>
                <c:pt idx="38">
                  <c:v>0.10277795205530238</c:v>
                </c:pt>
                <c:pt idx="39">
                  <c:v>0.11341389334682281</c:v>
                </c:pt>
                <c:pt idx="40">
                  <c:v>0.10130440349634595</c:v>
                </c:pt>
                <c:pt idx="41">
                  <c:v>0.09961503514291283</c:v>
                </c:pt>
                <c:pt idx="42">
                  <c:v>0.08353227163353241</c:v>
                </c:pt>
                <c:pt idx="43">
                  <c:v>0.0859545704927653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numCache>
            </c:numRef>
          </c:xVal>
          <c:yVal>
            <c:numRef>
              <c:f>Sheet1!$B$48:$B$99</c:f>
              <c:numCache>
                <c:formatCode>General</c:formatCode>
                <c:ptCount val="52"/>
                <c:pt idx="0">
                  <c:v>0.09595287983197304</c:v>
                </c:pt>
                <c:pt idx="1">
                  <c:v>0.09309278109730414</c:v>
                </c:pt>
                <c:pt idx="2">
                  <c:v>0.06617859537390408</c:v>
                </c:pt>
                <c:pt idx="3">
                  <c:v>0.0807005221724716</c:v>
                </c:pt>
                <c:pt idx="4">
                  <c:v>0.11163072602442557</c:v>
                </c:pt>
                <c:pt idx="5">
                  <c:v>0.07724748727348385</c:v>
                </c:pt>
                <c:pt idx="6">
                  <c:v>0.09324251110195274</c:v>
                </c:pt>
                <c:pt idx="7">
                  <c:v>0.08206234525895145</c:v>
                </c:pt>
                <c:pt idx="8">
                  <c:v>0.08726325583284571</c:v>
                </c:pt>
                <c:pt idx="9">
                  <c:v>0.08251353820488037</c:v>
                </c:pt>
                <c:pt idx="10">
                  <c:v>0.08505029924869477</c:v>
                </c:pt>
                <c:pt idx="11">
                  <c:v>0.09796697826301178</c:v>
                </c:pt>
                <c:pt idx="12">
                  <c:v>0.09130194459527566</c:v>
                </c:pt>
                <c:pt idx="13">
                  <c:v>0.08995370427876093</c:v>
                </c:pt>
                <c:pt idx="14">
                  <c:v>0.08747358038607862</c:v>
                </c:pt>
                <c:pt idx="15">
                  <c:v>0.08306071341393326</c:v>
                </c:pt>
                <c:pt idx="16">
                  <c:v>0.08934581444031038</c:v>
                </c:pt>
                <c:pt idx="17">
                  <c:v>0.09026844267775477</c:v>
                </c:pt>
                <c:pt idx="18">
                  <c:v>0.09377091451360803</c:v>
                </c:pt>
                <c:pt idx="19">
                  <c:v>0.08806148660971158</c:v>
                </c:pt>
                <c:pt idx="20">
                  <c:v>0.08806174709658804</c:v>
                </c:pt>
                <c:pt idx="21">
                  <c:v>0.08340052021318195</c:v>
                </c:pt>
                <c:pt idx="22">
                  <c:v>0.07785760715128018</c:v>
                </c:pt>
                <c:pt idx="23">
                  <c:v>0.09151948025993152</c:v>
                </c:pt>
                <c:pt idx="24">
                  <c:v>0.0872886275970746</c:v>
                </c:pt>
                <c:pt idx="25">
                  <c:v>0.08768610653194969</c:v>
                </c:pt>
                <c:pt idx="26">
                  <c:v>0.07655538658128337</c:v>
                </c:pt>
                <c:pt idx="27">
                  <c:v>0.08727628551295281</c:v>
                </c:pt>
                <c:pt idx="28">
                  <c:v>0.09040856683965845</c:v>
                </c:pt>
                <c:pt idx="29">
                  <c:v>0.09274160524944107</c:v>
                </c:pt>
                <c:pt idx="30">
                  <c:v>0.08696801498503767</c:v>
                </c:pt>
                <c:pt idx="31">
                  <c:v>0.08095927699694141</c:v>
                </c:pt>
                <c:pt idx="32">
                  <c:v>0.07849696342817634</c:v>
                </c:pt>
                <c:pt idx="33">
                  <c:v>0.08579762055153861</c:v>
                </c:pt>
                <c:pt idx="34">
                  <c:v>0.09038130321733102</c:v>
                </c:pt>
                <c:pt idx="35">
                  <c:v>0.09141816898675949</c:v>
                </c:pt>
                <c:pt idx="36">
                  <c:v>0.06789309647198916</c:v>
                </c:pt>
                <c:pt idx="37">
                  <c:v>0.09422090936782478</c:v>
                </c:pt>
                <c:pt idx="38">
                  <c:v>0.06490910215520942</c:v>
                </c:pt>
                <c:pt idx="39">
                  <c:v>0.09418245733140403</c:v>
                </c:pt>
                <c:pt idx="40">
                  <c:v>0.08549027168586623</c:v>
                </c:pt>
                <c:pt idx="41">
                  <c:v>0.0819216061319728</c:v>
                </c:pt>
                <c:pt idx="42">
                  <c:v>0.09343967092154053</c:v>
                </c:pt>
                <c:pt idx="43">
                  <c:v>0.09151636405950295</c:v>
                </c:pt>
                <c:pt idx="44">
                  <c:v>0.08448649794584345</c:v>
                </c:pt>
                <c:pt idx="45">
                  <c:v>0.0829750681686038</c:v>
                </c:pt>
                <c:pt idx="46">
                  <c:v>0.09356579862654749</c:v>
                </c:pt>
                <c:pt idx="47">
                  <c:v>0.08484861746278345</c:v>
                </c:pt>
                <c:pt idx="48">
                  <c:v>0.08724532228708723</c:v>
                </c:pt>
                <c:pt idx="49">
                  <c:v>0.08743823415046044</c:v>
                </c:pt>
                <c:pt idx="50">
                  <c:v>0.09318356788959194</c:v>
                </c:pt>
                <c:pt idx="51">
                  <c:v>0.08021120720517598</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0.2702380236804232</c:v>
                </c:pt>
              </c:numCache>
            </c:numRef>
          </c:xVal>
          <c:yVal>
            <c:numRef>
              <c:f>Sheet1!$B$102:$B$103</c:f>
              <c:numCache>
                <c:formatCode>General</c:formatCode>
                <c:ptCount val="2"/>
                <c:pt idx="0">
                  <c:v>0.09740835367204023</c:v>
                </c:pt>
                <c:pt idx="1">
                  <c:v>0.0974083536720402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0.2702380236804232</c:v>
                </c:pt>
                <c:pt idx="1">
                  <c:v>-0.2702380236804232</c:v>
                </c:pt>
              </c:numCache>
            </c:numRef>
          </c:xVal>
          <c:yVal>
            <c:numRef>
              <c:f>Sheet1!$B$106:$B$107</c:f>
              <c:numCache>
                <c:formatCode>General</c:formatCode>
                <c:ptCount val="2"/>
                <c:pt idx="0">
                  <c:v>0.097408353672040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8651145195411072</c:v>
                </c:pt>
              </c:numCache>
            </c:numRef>
          </c:xVal>
          <c:yVal>
            <c:numRef>
              <c:f>Sheet1!$B$110:$B$111</c:f>
              <c:numCache>
                <c:formatCode>General</c:formatCode>
                <c:ptCount val="2"/>
                <c:pt idx="0">
                  <c:v>0.08801568186762883</c:v>
                </c:pt>
                <c:pt idx="1">
                  <c:v>0.0880156818676288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8651145195411072</c:v>
                </c:pt>
                <c:pt idx="1">
                  <c:v>1.8651145195411072</c:v>
                </c:pt>
              </c:numCache>
            </c:numRef>
          </c:xVal>
          <c:yVal>
            <c:numRef>
              <c:f>Sheet1!$B$114:$B$115</c:f>
              <c:numCache>
                <c:formatCode>General</c:formatCode>
                <c:ptCount val="2"/>
                <c:pt idx="0">
                  <c:v>0.0880156818676288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9298053310980166</c:v>
                </c:pt>
              </c:numCache>
            </c:numRef>
          </c:xVal>
          <c:yVal>
            <c:numRef>
              <c:f>Sheet1!$B$118:$B$119</c:f>
              <c:numCache>
                <c:formatCode>General</c:formatCode>
                <c:ptCount val="2"/>
                <c:pt idx="0">
                  <c:v>0.0877311295281831</c:v>
                </c:pt>
                <c:pt idx="1">
                  <c:v>0.087731129528183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9298053310980166</c:v>
                </c:pt>
                <c:pt idx="1">
                  <c:v>1.9298053310980166</c:v>
                </c:pt>
              </c:numCache>
            </c:numRef>
          </c:xVal>
          <c:yVal>
            <c:numRef>
              <c:f>Sheet1!$B$122:$B$123</c:f>
              <c:numCache>
                <c:formatCode>General</c:formatCode>
                <c:ptCount val="2"/>
                <c:pt idx="0">
                  <c:v>0.087731129528183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2116</c:v>
                </c:pt>
                <c:pt idx="1">
                  <c:v>2.2206</c:v>
                </c:pt>
                <c:pt idx="2">
                  <c:v>2.2679</c:v>
                </c:pt>
                <c:pt idx="3">
                  <c:v>2.2492</c:v>
                </c:pt>
                <c:pt idx="4">
                  <c:v>2.2537</c:v>
                </c:pt>
                <c:pt idx="5">
                  <c:v>2.2707</c:v>
                </c:pt>
                <c:pt idx="6">
                  <c:v>2.2517</c:v>
                </c:pt>
                <c:pt idx="7">
                  <c:v>2.3173</c:v>
                </c:pt>
                <c:pt idx="8">
                  <c:v>2.317</c:v>
                </c:pt>
                <c:pt idx="9">
                  <c:v>2.2647</c:v>
                </c:pt>
                <c:pt idx="10">
                  <c:v>2.2609</c:v>
                </c:pt>
                <c:pt idx="11">
                  <c:v>2.2158</c:v>
                </c:pt>
                <c:pt idx="12">
                  <c:v>2.1077</c:v>
                </c:pt>
                <c:pt idx="13">
                  <c:v>2.2768</c:v>
                </c:pt>
                <c:pt idx="14">
                  <c:v>2.2656</c:v>
                </c:pt>
                <c:pt idx="15">
                  <c:v>2.2676</c:v>
                </c:pt>
                <c:pt idx="16">
                  <c:v>2.2518</c:v>
                </c:pt>
                <c:pt idx="17">
                  <c:v>2.2162</c:v>
                </c:pt>
                <c:pt idx="18">
                  <c:v>2.135</c:v>
                </c:pt>
                <c:pt idx="19">
                  <c:v>2.1743</c:v>
                </c:pt>
                <c:pt idx="20">
                  <c:v>2.2228</c:v>
                </c:pt>
                <c:pt idx="21">
                  <c:v>2.2661</c:v>
                </c:pt>
                <c:pt idx="22">
                  <c:v>2.2607</c:v>
                </c:pt>
                <c:pt idx="23">
                  <c:v>2.1748</c:v>
                </c:pt>
                <c:pt idx="24">
                  <c:v>2.0888</c:v>
                </c:pt>
                <c:pt idx="25">
                  <c:v>2.1203</c:v>
                </c:pt>
                <c:pt idx="26">
                  <c:v>2.1116</c:v>
                </c:pt>
                <c:pt idx="27">
                  <c:v>2.0825</c:v>
                </c:pt>
                <c:pt idx="28">
                  <c:v>2.2496</c:v>
                </c:pt>
                <c:pt idx="29">
                  <c:v>2.2411</c:v>
                </c:pt>
                <c:pt idx="30">
                  <c:v>2.2066</c:v>
                </c:pt>
                <c:pt idx="31">
                  <c:v>2.1956</c:v>
                </c:pt>
                <c:pt idx="32">
                  <c:v>2.2129</c:v>
                </c:pt>
                <c:pt idx="33">
                  <c:v>2.3266</c:v>
                </c:pt>
                <c:pt idx="34">
                  <c:v>2.1973</c:v>
                </c:pt>
                <c:pt idx="35">
                  <c:v>2.1366</c:v>
                </c:pt>
                <c:pt idx="36">
                  <c:v>2.0969</c:v>
                </c:pt>
                <c:pt idx="37">
                  <c:v>2.0805</c:v>
                </c:pt>
                <c:pt idx="38">
                  <c:v>2.2101</c:v>
                </c:pt>
                <c:pt idx="39">
                  <c:v>2.2024</c:v>
                </c:pt>
                <c:pt idx="40">
                  <c:v>2.0689</c:v>
                </c:pt>
                <c:pt idx="41">
                  <c:v>2.0</c:v>
                </c:pt>
                <c:pt idx="42">
                  <c:v>1.9326</c:v>
                </c:pt>
                <c:pt idx="43">
                  <c:v>1.939</c:v>
                </c:pt>
                <c:pt idx="44">
                  <c:v>2.0321</c:v>
                </c:pt>
                <c:pt idx="45">
                  <c:v>2.097</c:v>
                </c:pt>
                <c:pt idx="46">
                  <c:v>1.9695</c:v>
                </c:pt>
                <c:pt idx="47">
                  <c:v>1.7887</c:v>
                </c:pt>
                <c:pt idx="48">
                  <c:v>1.8171</c:v>
                </c:pt>
                <c:pt idx="49">
                  <c:v>1.7896</c:v>
                </c:pt>
                <c:pt idx="50">
                  <c:v>2.0538</c:v>
                </c:pt>
                <c:pt idx="51">
                  <c:v>2.0978</c:v>
                </c:pt>
                <c:pt idx="52">
                  <c:v>1.8651145195411072</c:v>
                </c:pt>
                <c:pt idx="53">
                  <c:v>-0.2702380236804232</c:v>
                </c:pt>
                <c:pt idx="54">
                  <c:v>1.9298053310980166</c:v>
                </c:pt>
              </c:numCache>
            </c:numRef>
          </c:xVal>
          <c:yVal>
            <c:numRef>
              <c:f>Sheet1!$B$126:$B$180</c:f>
              <c:numCache>
                <c:formatCode>General</c:formatCode>
                <c:ptCount val="55"/>
                <c:pt idx="0">
                  <c:v>0.08649161296702737</c:v>
                </c:pt>
                <c:pt idx="1">
                  <c:v>0.08645202510294935</c:v>
                </c:pt>
                <c:pt idx="2">
                  <c:v>0.08624396888396155</c:v>
                </c:pt>
                <c:pt idx="3">
                  <c:v>0.08632622366821253</c:v>
                </c:pt>
                <c:pt idx="4">
                  <c:v>0.08630642973617353</c:v>
                </c:pt>
                <c:pt idx="5">
                  <c:v>0.08623165265958171</c:v>
                </c:pt>
                <c:pt idx="6">
                  <c:v>0.08631522703930197</c:v>
                </c:pt>
                <c:pt idx="7">
                  <c:v>0.08602667549668887</c:v>
                </c:pt>
                <c:pt idx="8">
                  <c:v>0.08602799509215814</c:v>
                </c:pt>
                <c:pt idx="9">
                  <c:v>0.08625804456896706</c:v>
                </c:pt>
                <c:pt idx="10">
                  <c:v>0.08627475944491111</c:v>
                </c:pt>
                <c:pt idx="11">
                  <c:v>0.08647313863045762</c:v>
                </c:pt>
                <c:pt idx="12">
                  <c:v>0.08694863286455025</c:v>
                </c:pt>
                <c:pt idx="13">
                  <c:v>0.08620482088503995</c:v>
                </c:pt>
                <c:pt idx="14">
                  <c:v>0.08625408578255926</c:v>
                </c:pt>
                <c:pt idx="15">
                  <c:v>0.0862452884794308</c:v>
                </c:pt>
                <c:pt idx="16">
                  <c:v>0.08631478717414555</c:v>
                </c:pt>
                <c:pt idx="17">
                  <c:v>0.08647137916983193</c:v>
                </c:pt>
                <c:pt idx="18">
                  <c:v>0.08682854967684693</c:v>
                </c:pt>
                <c:pt idx="19">
                  <c:v>0.08665568267037292</c:v>
                </c:pt>
                <c:pt idx="20">
                  <c:v>0.08644234806950805</c:v>
                </c:pt>
                <c:pt idx="21">
                  <c:v>0.08625188645677714</c:v>
                </c:pt>
                <c:pt idx="22">
                  <c:v>0.08627563917522396</c:v>
                </c:pt>
                <c:pt idx="23">
                  <c:v>0.08665348334459082</c:v>
                </c:pt>
                <c:pt idx="24">
                  <c:v>0.08703176737911408</c:v>
                </c:pt>
                <c:pt idx="25">
                  <c:v>0.08689320985484103</c:v>
                </c:pt>
                <c:pt idx="26">
                  <c:v>0.08693147812344978</c:v>
                </c:pt>
                <c:pt idx="27">
                  <c:v>0.0870594788839687</c:v>
                </c:pt>
                <c:pt idx="28">
                  <c:v>0.08632446420758684</c:v>
                </c:pt>
                <c:pt idx="29">
                  <c:v>0.08636185274588275</c:v>
                </c:pt>
                <c:pt idx="30">
                  <c:v>0.08651360622484848</c:v>
                </c:pt>
                <c:pt idx="31">
                  <c:v>0.08656199139205495</c:v>
                </c:pt>
                <c:pt idx="32">
                  <c:v>0.08648589471999388</c:v>
                </c:pt>
                <c:pt idx="33">
                  <c:v>0.08598576803714159</c:v>
                </c:pt>
                <c:pt idx="34">
                  <c:v>0.08655451368439576</c:v>
                </c:pt>
                <c:pt idx="35">
                  <c:v>0.08682151183434417</c:v>
                </c:pt>
                <c:pt idx="36">
                  <c:v>0.08699613830144387</c:v>
                </c:pt>
                <c:pt idx="37">
                  <c:v>0.08706827618709714</c:v>
                </c:pt>
                <c:pt idx="38">
                  <c:v>0.0864982109443737</c:v>
                </c:pt>
                <c:pt idx="39">
                  <c:v>0.08653208056141823</c:v>
                </c:pt>
                <c:pt idx="40">
                  <c:v>0.08711930054524215</c:v>
                </c:pt>
                <c:pt idx="41">
                  <c:v>0.0874223676380172</c:v>
                </c:pt>
                <c:pt idx="42">
                  <c:v>0.0877188367534459</c:v>
                </c:pt>
                <c:pt idx="43">
                  <c:v>0.08769068538343487</c:v>
                </c:pt>
                <c:pt idx="44">
                  <c:v>0.0872811709228056</c:v>
                </c:pt>
                <c:pt idx="45">
                  <c:v>0.08699569843628745</c:v>
                </c:pt>
                <c:pt idx="46">
                  <c:v>0.08755652651072603</c:v>
                </c:pt>
                <c:pt idx="47">
                  <c:v>0.08835180271353776</c:v>
                </c:pt>
                <c:pt idx="48">
                  <c:v>0.08822688100911379</c:v>
                </c:pt>
                <c:pt idx="49">
                  <c:v>0.08834784392712995</c:v>
                </c:pt>
                <c:pt idx="50">
                  <c:v>0.08718572018386193</c:v>
                </c:pt>
                <c:pt idx="51">
                  <c:v>0.08699217951503607</c:v>
                </c:pt>
                <c:pt idx="52">
                  <c:v>0.08801568186762883</c:v>
                </c:pt>
                <c:pt idx="53">
                  <c:v>0.09740835367204023</c:v>
                </c:pt>
                <c:pt idx="54">
                  <c:v>0.087731129528183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656579700662466"/>
          <c:min val="0.05192728172416754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6589075428296769</c:v>
                </c:pt>
                <c:pt idx="1">
                  <c:v>0.6654925270908246</c:v>
                </c:pt>
                <c:pt idx="2">
                  <c:v>0.7181537051884092</c:v>
                </c:pt>
                <c:pt idx="3">
                  <c:v>0.6606903714231053</c:v>
                </c:pt>
                <c:pt idx="4">
                  <c:v>0.6998635101426084</c:v>
                </c:pt>
                <c:pt idx="5">
                  <c:v>0.7020122359239078</c:v>
                </c:pt>
                <c:pt idx="6">
                  <c:v>0.6873107407114832</c:v>
                </c:pt>
                <c:pt idx="7">
                  <c:v>0.6509713140184239</c:v>
                </c:pt>
                <c:pt idx="8">
                  <c:v>0.6661274102575314</c:v>
                </c:pt>
                <c:pt idx="9">
                  <c:v>0.6467870109426969</c:v>
                </c:pt>
                <c:pt idx="10">
                  <c:v>0.6523832195947733</c:v>
                </c:pt>
                <c:pt idx="11">
                  <c:v>0.6586452999389775</c:v>
                </c:pt>
                <c:pt idx="12">
                  <c:v>0.6700501124974433</c:v>
                </c:pt>
                <c:pt idx="13">
                  <c:v>0.6916661193931831</c:v>
                </c:pt>
                <c:pt idx="14">
                  <c:v>0.6834437086092715</c:v>
                </c:pt>
                <c:pt idx="15">
                  <c:v>0.6801608207403299</c:v>
                </c:pt>
                <c:pt idx="16">
                  <c:v>0.6354442077161999</c:v>
                </c:pt>
                <c:pt idx="17">
                  <c:v>0.6856527010642597</c:v>
                </c:pt>
                <c:pt idx="18">
                  <c:v>0.7082033400623968</c:v>
                </c:pt>
                <c:pt idx="19">
                  <c:v>0.6824633633720093</c:v>
                </c:pt>
                <c:pt idx="20">
                  <c:v>0.728625603309584</c:v>
                </c:pt>
                <c:pt idx="21">
                  <c:v>0.6914407624701435</c:v>
                </c:pt>
                <c:pt idx="22">
                  <c:v>0.6790274029478929</c:v>
                </c:pt>
                <c:pt idx="23">
                  <c:v>0.7216016811713378</c:v>
                </c:pt>
                <c:pt idx="24">
                  <c:v>0.7223072996426748</c:v>
                </c:pt>
                <c:pt idx="25">
                  <c:v>0.6737562366357804</c:v>
                </c:pt>
                <c:pt idx="26">
                  <c:v>0.6788928510782816</c:v>
                </c:pt>
                <c:pt idx="27">
                  <c:v>0.6217411190730294</c:v>
                </c:pt>
                <c:pt idx="28">
                  <c:v>0.6606935577481138</c:v>
                </c:pt>
                <c:pt idx="29">
                  <c:v>0.6452843075872275</c:v>
                </c:pt>
                <c:pt idx="30">
                  <c:v>0.6667162071784202</c:v>
                </c:pt>
                <c:pt idx="31">
                  <c:v>0.6727563142657482</c:v>
                </c:pt>
                <c:pt idx="32">
                  <c:v>0.6847950027266868</c:v>
                </c:pt>
                <c:pt idx="33">
                  <c:v>0.5898501554990104</c:v>
                </c:pt>
                <c:pt idx="34">
                  <c:v>0.6657734697206236</c:v>
                </c:pt>
                <c:pt idx="35">
                  <c:v>0.66684359927073</c:v>
                </c:pt>
                <c:pt idx="36">
                  <c:v>0.695145225741039</c:v>
                </c:pt>
                <c:pt idx="37">
                  <c:v>0.6607056782030271</c:v>
                </c:pt>
                <c:pt idx="38">
                  <c:v>0.6690307912815697</c:v>
                </c:pt>
                <c:pt idx="39">
                  <c:v>0.6917789260011072</c:v>
                </c:pt>
                <c:pt idx="40">
                  <c:v>0.6810860313526909</c:v>
                </c:pt>
                <c:pt idx="41">
                  <c:v>0.6990303914924673</c:v>
                </c:pt>
                <c:pt idx="42">
                  <c:v>0.7078084916265529</c:v>
                </c:pt>
                <c:pt idx="43">
                  <c:v>0.713011532561970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7293646965354822</c:v>
                </c:pt>
                <c:pt idx="1">
                  <c:v>0.7145195849483593</c:v>
                </c:pt>
                <c:pt idx="2">
                  <c:v>0.7036083598760854</c:v>
                </c:pt>
                <c:pt idx="3">
                  <c:v>0.6594465976549085</c:v>
                </c:pt>
                <c:pt idx="4">
                  <c:v>0.7368772782503038</c:v>
                </c:pt>
                <c:pt idx="5">
                  <c:v>0.6890837091125507</c:v>
                </c:pt>
                <c:pt idx="6">
                  <c:v>0.6934379142730889</c:v>
                </c:pt>
                <c:pt idx="7">
                  <c:v>0.7227855366366941</c:v>
                </c:pt>
                <c:pt idx="8">
                  <c:v>0.669632112772907</c:v>
                </c:pt>
                <c:pt idx="9">
                  <c:v>0.691899239624485</c:v>
                </c:pt>
                <c:pt idx="10">
                  <c:v>0.6953950428599907</c:v>
                </c:pt>
                <c:pt idx="11">
                  <c:v>0.6958955627120842</c:v>
                </c:pt>
                <c:pt idx="12">
                  <c:v>0.7015309058819016</c:v>
                </c:pt>
                <c:pt idx="13">
                  <c:v>0.6925142665323935</c:v>
                </c:pt>
                <c:pt idx="14">
                  <c:v>0.661204645718916</c:v>
                </c:pt>
                <c:pt idx="15">
                  <c:v>0.6925341401586393</c:v>
                </c:pt>
                <c:pt idx="16">
                  <c:v>0.6798121106913101</c:v>
                </c:pt>
                <c:pt idx="17">
                  <c:v>0.6845681462628715</c:v>
                </c:pt>
                <c:pt idx="18">
                  <c:v>0.7038616338518437</c:v>
                </c:pt>
                <c:pt idx="19">
                  <c:v>0.6814969781496978</c:v>
                </c:pt>
                <c:pt idx="20">
                  <c:v>0.6965514294260929</c:v>
                </c:pt>
                <c:pt idx="21">
                  <c:v>0.7199698875488151</c:v>
                </c:pt>
                <c:pt idx="22">
                  <c:v>0.6602592140703055</c:v>
                </c:pt>
                <c:pt idx="23">
                  <c:v>0.675682585131404</c:v>
                </c:pt>
                <c:pt idx="24">
                  <c:v>0.723388145760935</c:v>
                </c:pt>
                <c:pt idx="25">
                  <c:v>0.7234249167043381</c:v>
                </c:pt>
                <c:pt idx="26">
                  <c:v>0.6954464096107758</c:v>
                </c:pt>
                <c:pt idx="27">
                  <c:v>0.688368204424627</c:v>
                </c:pt>
                <c:pt idx="28">
                  <c:v>0.6989818835154963</c:v>
                </c:pt>
                <c:pt idx="29">
                  <c:v>0.6855965021861337</c:v>
                </c:pt>
                <c:pt idx="30">
                  <c:v>0.7268080854661441</c:v>
                </c:pt>
                <c:pt idx="31">
                  <c:v>0.7130896019638786</c:v>
                </c:pt>
                <c:pt idx="32">
                  <c:v>0.7500715717148583</c:v>
                </c:pt>
                <c:pt idx="33">
                  <c:v>0.6990562580172256</c:v>
                </c:pt>
                <c:pt idx="34">
                  <c:v>0.6923002942930235</c:v>
                </c:pt>
                <c:pt idx="35">
                  <c:v>0.6680664555509661</c:v>
                </c:pt>
                <c:pt idx="36">
                  <c:v>0.6963146629368259</c:v>
                </c:pt>
                <c:pt idx="37">
                  <c:v>0.6834120096472965</c:v>
                </c:pt>
                <c:pt idx="38">
                  <c:v>0.6813829470887933</c:v>
                </c:pt>
                <c:pt idx="39">
                  <c:v>0.67309180987769</c:v>
                </c:pt>
                <c:pt idx="40">
                  <c:v>0.6707068958053763</c:v>
                </c:pt>
                <c:pt idx="41">
                  <c:v>0.674028456147802</c:v>
                </c:pt>
                <c:pt idx="42">
                  <c:v>0.6818340629303081</c:v>
                </c:pt>
                <c:pt idx="43">
                  <c:v>0.7041397212860916</c:v>
                </c:pt>
                <c:pt idx="44">
                  <c:v>0.6964378400199926</c:v>
                </c:pt>
                <c:pt idx="45">
                  <c:v>0.6813164893617021</c:v>
                </c:pt>
                <c:pt idx="46">
                  <c:v>0.6883757859273406</c:v>
                </c:pt>
                <c:pt idx="47">
                  <c:v>0.6825002587188244</c:v>
                </c:pt>
                <c:pt idx="48">
                  <c:v>0.7033627884143349</c:v>
                </c:pt>
                <c:pt idx="49">
                  <c:v>0.6554066805057558</c:v>
                </c:pt>
                <c:pt idx="50">
                  <c:v>0.7440563788993678</c:v>
                </c:pt>
                <c:pt idx="51">
                  <c:v>0.7129136982595364</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882580925650566</c:v>
                </c:pt>
              </c:numCache>
            </c:numRef>
          </c:xVal>
          <c:yVal>
            <c:numRef>
              <c:f>Sheet1!$B$102:$B$103</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882580925650566</c:v>
                </c:pt>
                <c:pt idx="1">
                  <c:v>2.882580925650566</c:v>
                </c:pt>
              </c:numCache>
            </c:numRef>
          </c:xVal>
          <c:yVal>
            <c:numRef>
              <c:f>Sheet1!$B$106:$B$107</c:f>
              <c:numCache>
                <c:formatCode>General</c:formatCode>
                <c:ptCount val="2"/>
                <c:pt idx="0">
                  <c:v>0.70026742624144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882580925650566</c:v>
                </c:pt>
              </c:numCache>
            </c:numRef>
          </c:xVal>
          <c:yVal>
            <c:numRef>
              <c:f>Sheet1!$B$110:$B$111</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882580925650566</c:v>
                </c:pt>
                <c:pt idx="1">
                  <c:v>2.882580925650566</c:v>
                </c:pt>
              </c:numCache>
            </c:numRef>
          </c:xVal>
          <c:yVal>
            <c:numRef>
              <c:f>Sheet1!$B$114:$B$115</c:f>
              <c:numCache>
                <c:formatCode>General</c:formatCode>
                <c:ptCount val="2"/>
                <c:pt idx="0">
                  <c:v>0.70026742624144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3234367038240626</c:v>
                </c:pt>
              </c:numCache>
            </c:numRef>
          </c:xVal>
          <c:yVal>
            <c:numRef>
              <c:f>Sheet1!$B$118:$B$119</c:f>
              <c:numCache>
                <c:formatCode>General</c:formatCode>
                <c:ptCount val="2"/>
                <c:pt idx="0">
                  <c:v>0.689859297396471</c:v>
                </c:pt>
                <c:pt idx="1">
                  <c:v>0.68985929739647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3234367038240626</c:v>
                </c:pt>
                <c:pt idx="1">
                  <c:v>2.3234367038240626</c:v>
                </c:pt>
              </c:numCache>
            </c:numRef>
          </c:xVal>
          <c:yVal>
            <c:numRef>
              <c:f>Sheet1!$B$122:$B$123</c:f>
              <c:numCache>
                <c:formatCode>General</c:formatCode>
                <c:ptCount val="2"/>
                <c:pt idx="0">
                  <c:v>0.68985929739647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882580925650566</c:v>
                </c:pt>
                <c:pt idx="53">
                  <c:v>2.882580925650566</c:v>
                </c:pt>
                <c:pt idx="54">
                  <c:v>2.3234367038240626</c:v>
                </c:pt>
              </c:numCache>
            </c:numRef>
          </c:xVal>
          <c:yVal>
            <c:numRef>
              <c:f>Sheet1!$B$126:$B$180</c:f>
              <c:numCache>
                <c:formatCode>General</c:formatCode>
                <c:ptCount val="55"/>
                <c:pt idx="0">
                  <c:v>0.6956067379382004</c:v>
                </c:pt>
                <c:pt idx="1">
                  <c:v>0.6971014734887558</c:v>
                </c:pt>
                <c:pt idx="2">
                  <c:v>0.697082859098338</c:v>
                </c:pt>
                <c:pt idx="3">
                  <c:v>0.6970903048545052</c:v>
                </c:pt>
                <c:pt idx="4">
                  <c:v>0.6971014734887558</c:v>
                </c:pt>
                <c:pt idx="5">
                  <c:v>0.6970232930490008</c:v>
                </c:pt>
                <c:pt idx="6">
                  <c:v>0.6969060223893682</c:v>
                </c:pt>
                <c:pt idx="7">
                  <c:v>0.6971498709038424</c:v>
                </c:pt>
                <c:pt idx="8">
                  <c:v>0.6971908225627617</c:v>
                </c:pt>
                <c:pt idx="9">
                  <c:v>0.6970139858537918</c:v>
                </c:pt>
                <c:pt idx="10">
                  <c:v>0.6970139858537918</c:v>
                </c:pt>
                <c:pt idx="11">
                  <c:v>0.6969897871462486</c:v>
                </c:pt>
                <c:pt idx="12">
                  <c:v>0.6972131598312631</c:v>
                </c:pt>
                <c:pt idx="13">
                  <c:v>0.6976152306642892</c:v>
                </c:pt>
                <c:pt idx="14">
                  <c:v>0.6966193607769329</c:v>
                </c:pt>
                <c:pt idx="15">
                  <c:v>0.6972727258806003</c:v>
                </c:pt>
                <c:pt idx="16">
                  <c:v>0.6970177087318754</c:v>
                </c:pt>
                <c:pt idx="17">
                  <c:v>0.696811088998237</c:v>
                </c:pt>
                <c:pt idx="18">
                  <c:v>0.6974216410039433</c:v>
                </c:pt>
                <c:pt idx="19">
                  <c:v>0.696811088998237</c:v>
                </c:pt>
                <c:pt idx="20">
                  <c:v>0.6973080932223943</c:v>
                </c:pt>
                <c:pt idx="21">
                  <c:v>0.696986064268165</c:v>
                </c:pt>
                <c:pt idx="22">
                  <c:v>0.6923454967369884</c:v>
                </c:pt>
                <c:pt idx="23">
                  <c:v>0.6920886181492217</c:v>
                </c:pt>
                <c:pt idx="24">
                  <c:v>0.6924329843719524</c:v>
                </c:pt>
                <c:pt idx="25">
                  <c:v>0.696232181456241</c:v>
                </c:pt>
                <c:pt idx="26">
                  <c:v>0.6937899734334156</c:v>
                </c:pt>
                <c:pt idx="27">
                  <c:v>0.6935963837730696</c:v>
                </c:pt>
                <c:pt idx="28">
                  <c:v>0.6939314428005915</c:v>
                </c:pt>
                <c:pt idx="29">
                  <c:v>0.6939351656786751</c:v>
                </c:pt>
                <c:pt idx="30">
                  <c:v>0.6935088961381056</c:v>
                </c:pt>
                <c:pt idx="31">
                  <c:v>0.6937713590429977</c:v>
                </c:pt>
                <c:pt idx="32">
                  <c:v>0.6940878036801016</c:v>
                </c:pt>
                <c:pt idx="33">
                  <c:v>0.6931459155249571</c:v>
                </c:pt>
                <c:pt idx="34">
                  <c:v>0.6941697069979403</c:v>
                </c:pt>
                <c:pt idx="35">
                  <c:v>0.6938662924341289</c:v>
                </c:pt>
                <c:pt idx="36">
                  <c:v>0.6934102398688909</c:v>
                </c:pt>
                <c:pt idx="37">
                  <c:v>0.6937806662382067</c:v>
                </c:pt>
                <c:pt idx="38">
                  <c:v>0.6937918348724574</c:v>
                </c:pt>
                <c:pt idx="39">
                  <c:v>0.6937806662382067</c:v>
                </c:pt>
                <c:pt idx="40">
                  <c:v>0.6936224439196548</c:v>
                </c:pt>
                <c:pt idx="41">
                  <c:v>0.694180875632191</c:v>
                </c:pt>
                <c:pt idx="42">
                  <c:v>0.6940375448259734</c:v>
                </c:pt>
                <c:pt idx="43">
                  <c:v>0.6938625695560453</c:v>
                </c:pt>
                <c:pt idx="44">
                  <c:v>0.6933488123805119</c:v>
                </c:pt>
                <c:pt idx="45">
                  <c:v>0.6943148992431998</c:v>
                </c:pt>
                <c:pt idx="46">
                  <c:v>0.6938383708485021</c:v>
                </c:pt>
                <c:pt idx="47">
                  <c:v>0.6937062086765352</c:v>
                </c:pt>
                <c:pt idx="48">
                  <c:v>0.6937918348724574</c:v>
                </c:pt>
                <c:pt idx="49">
                  <c:v>0.6937490217744963</c:v>
                </c:pt>
                <c:pt idx="50">
                  <c:v>0.6939649487033437</c:v>
                </c:pt>
                <c:pt idx="51">
                  <c:v>0.6933804568442223</c:v>
                </c:pt>
                <c:pt idx="52">
                  <c:v>0.7002674262414493</c:v>
                </c:pt>
                <c:pt idx="53">
                  <c:v>0.7002674262414493</c:v>
                </c:pt>
                <c:pt idx="54">
                  <c:v>0.68985929739647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00858860578299"/>
          <c:min val="0.471880124399208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227856475716065</c:v>
                </c:pt>
                <c:pt idx="1">
                  <c:v>0.5227754752592765</c:v>
                </c:pt>
                <c:pt idx="2">
                  <c:v>0.5227967074665785</c:v>
                </c:pt>
                <c:pt idx="3">
                  <c:v>0.5227847608670272</c:v>
                </c:pt>
                <c:pt idx="4">
                  <c:v>0.5228568648438261</c:v>
                </c:pt>
                <c:pt idx="5">
                  <c:v>0.5227653033428027</c:v>
                </c:pt>
                <c:pt idx="6">
                  <c:v>0.5228772161999105</c:v>
                </c:pt>
                <c:pt idx="7">
                  <c:v>0.5228254524226502</c:v>
                </c:pt>
                <c:pt idx="8">
                  <c:v>0.5228670403238362</c:v>
                </c:pt>
                <c:pt idx="9">
                  <c:v>0.5228051058530511</c:v>
                </c:pt>
                <c:pt idx="10">
                  <c:v>0.5228059933839269</c:v>
                </c:pt>
                <c:pt idx="11">
                  <c:v>0.5227551318221617</c:v>
                </c:pt>
                <c:pt idx="12">
                  <c:v>0.5228152789398922</c:v>
                </c:pt>
                <c:pt idx="13">
                  <c:v>0.5228577545102465</c:v>
                </c:pt>
                <c:pt idx="14">
                  <c:v>0.5227051636250437</c:v>
                </c:pt>
                <c:pt idx="15">
                  <c:v>0.5228365150719053</c:v>
                </c:pt>
                <c:pt idx="16">
                  <c:v>0.5228670403238362</c:v>
                </c:pt>
                <c:pt idx="17">
                  <c:v>0.5228356263013485</c:v>
                </c:pt>
                <c:pt idx="18">
                  <c:v>0.5228661503133148</c:v>
                </c:pt>
                <c:pt idx="19">
                  <c:v>0.5227754752592765</c:v>
                </c:pt>
                <c:pt idx="20">
                  <c:v>0.5228466897598567</c:v>
                </c:pt>
                <c:pt idx="21">
                  <c:v>0.522734789968286</c:v>
                </c:pt>
                <c:pt idx="22">
                  <c:v>0.5228263407799487</c:v>
                </c:pt>
                <c:pt idx="23">
                  <c:v>0.5227958202798155</c:v>
                </c:pt>
                <c:pt idx="24">
                  <c:v>0.5227856475716065</c:v>
                </c:pt>
                <c:pt idx="25">
                  <c:v>0.5227551318221617</c:v>
                </c:pt>
                <c:pt idx="26">
                  <c:v>0.5228263407799487</c:v>
                </c:pt>
                <c:pt idx="27">
                  <c:v>0.5228059933839269</c:v>
                </c:pt>
                <c:pt idx="28">
                  <c:v>0.5228568648438261</c:v>
                </c:pt>
                <c:pt idx="29">
                  <c:v>0.5228966778895744</c:v>
                </c:pt>
                <c:pt idx="30">
                  <c:v>0.5228161668839636</c:v>
                </c:pt>
                <c:pt idx="31">
                  <c:v>0.5227449606973306</c:v>
                </c:pt>
                <c:pt idx="32">
                  <c:v>0.5228466897598567</c:v>
                </c:pt>
                <c:pt idx="33">
                  <c:v>0.5228670403238362</c:v>
                </c:pt>
                <c:pt idx="34">
                  <c:v>0.5228559752466577</c:v>
                </c:pt>
                <c:pt idx="35">
                  <c:v>0.5228466897598567</c:v>
                </c:pt>
                <c:pt idx="36">
                  <c:v>0.5228475790129223</c:v>
                </c:pt>
                <c:pt idx="37">
                  <c:v>0.5228772161999105</c:v>
                </c:pt>
                <c:pt idx="38">
                  <c:v>0.5228763257760047</c:v>
                </c:pt>
                <c:pt idx="39">
                  <c:v>0.5227653033428027</c:v>
                </c:pt>
                <c:pt idx="40">
                  <c:v>0.5228365150719053</c:v>
                </c:pt>
                <c:pt idx="41">
                  <c:v>0.5227246196350053</c:v>
                </c:pt>
                <c:pt idx="42">
                  <c:v>0.5228161668839636</c:v>
                </c:pt>
                <c:pt idx="43">
                  <c:v>0.5227745889677984</c:v>
                </c:pt>
              </c:numCache>
            </c:numRef>
          </c:xVal>
          <c:yVal>
            <c:numRef>
              <c:f>Sheet1!$B$2:$B$45</c:f>
              <c:numCache>
                <c:formatCode>General</c:formatCode>
                <c:ptCount val="44"/>
                <c:pt idx="0">
                  <c:v>0.6589075428296769</c:v>
                </c:pt>
                <c:pt idx="1">
                  <c:v>0.6654925270908246</c:v>
                </c:pt>
                <c:pt idx="2">
                  <c:v>0.7181537051884092</c:v>
                </c:pt>
                <c:pt idx="3">
                  <c:v>0.6606903714231053</c:v>
                </c:pt>
                <c:pt idx="4">
                  <c:v>0.6998635101426084</c:v>
                </c:pt>
                <c:pt idx="5">
                  <c:v>0.7020122359239078</c:v>
                </c:pt>
                <c:pt idx="6">
                  <c:v>0.6873107407114832</c:v>
                </c:pt>
                <c:pt idx="7">
                  <c:v>0.6509713140184239</c:v>
                </c:pt>
                <c:pt idx="8">
                  <c:v>0.6661274102575314</c:v>
                </c:pt>
                <c:pt idx="9">
                  <c:v>0.6467870109426969</c:v>
                </c:pt>
                <c:pt idx="10">
                  <c:v>0.6523832195947733</c:v>
                </c:pt>
                <c:pt idx="11">
                  <c:v>0.6586452999389775</c:v>
                </c:pt>
                <c:pt idx="12">
                  <c:v>0.6700501124974433</c:v>
                </c:pt>
                <c:pt idx="13">
                  <c:v>0.6916661193931831</c:v>
                </c:pt>
                <c:pt idx="14">
                  <c:v>0.6834437086092715</c:v>
                </c:pt>
                <c:pt idx="15">
                  <c:v>0.6801608207403299</c:v>
                </c:pt>
                <c:pt idx="16">
                  <c:v>0.6354442077161999</c:v>
                </c:pt>
                <c:pt idx="17">
                  <c:v>0.6856527010642597</c:v>
                </c:pt>
                <c:pt idx="18">
                  <c:v>0.7082033400623968</c:v>
                </c:pt>
                <c:pt idx="19">
                  <c:v>0.6824633633720093</c:v>
                </c:pt>
                <c:pt idx="20">
                  <c:v>0.728625603309584</c:v>
                </c:pt>
                <c:pt idx="21">
                  <c:v>0.6914407624701435</c:v>
                </c:pt>
                <c:pt idx="22">
                  <c:v>0.6790274029478929</c:v>
                </c:pt>
                <c:pt idx="23">
                  <c:v>0.7216016811713378</c:v>
                </c:pt>
                <c:pt idx="24">
                  <c:v>0.7223072996426748</c:v>
                </c:pt>
                <c:pt idx="25">
                  <c:v>0.6737562366357804</c:v>
                </c:pt>
                <c:pt idx="26">
                  <c:v>0.6788928510782816</c:v>
                </c:pt>
                <c:pt idx="27">
                  <c:v>0.6217411190730294</c:v>
                </c:pt>
                <c:pt idx="28">
                  <c:v>0.6606935577481138</c:v>
                </c:pt>
                <c:pt idx="29">
                  <c:v>0.6452843075872275</c:v>
                </c:pt>
                <c:pt idx="30">
                  <c:v>0.6667162071784202</c:v>
                </c:pt>
                <c:pt idx="31">
                  <c:v>0.6727563142657482</c:v>
                </c:pt>
                <c:pt idx="32">
                  <c:v>0.6847950027266868</c:v>
                </c:pt>
                <c:pt idx="33">
                  <c:v>0.5898501554990104</c:v>
                </c:pt>
                <c:pt idx="34">
                  <c:v>0.6657734697206236</c:v>
                </c:pt>
                <c:pt idx="35">
                  <c:v>0.66684359927073</c:v>
                </c:pt>
                <c:pt idx="36">
                  <c:v>0.695145225741039</c:v>
                </c:pt>
                <c:pt idx="37">
                  <c:v>0.6607056782030271</c:v>
                </c:pt>
                <c:pt idx="38">
                  <c:v>0.6690307912815697</c:v>
                </c:pt>
                <c:pt idx="39">
                  <c:v>0.6917789260011072</c:v>
                </c:pt>
                <c:pt idx="40">
                  <c:v>0.6810860313526909</c:v>
                </c:pt>
                <c:pt idx="41">
                  <c:v>0.6990303914924673</c:v>
                </c:pt>
                <c:pt idx="42">
                  <c:v>0.7078084916265529</c:v>
                </c:pt>
                <c:pt idx="43">
                  <c:v>0.713011532561970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numCache>
            </c:numRef>
          </c:xVal>
          <c:yVal>
            <c:numRef>
              <c:f>Sheet1!$B$48:$B$99</c:f>
              <c:numCache>
                <c:formatCode>General</c:formatCode>
                <c:ptCount val="52"/>
                <c:pt idx="0">
                  <c:v>0.7293646965354822</c:v>
                </c:pt>
                <c:pt idx="1">
                  <c:v>0.7145195849483593</c:v>
                </c:pt>
                <c:pt idx="2">
                  <c:v>0.7036083598760854</c:v>
                </c:pt>
                <c:pt idx="3">
                  <c:v>0.6594465976549085</c:v>
                </c:pt>
                <c:pt idx="4">
                  <c:v>0.7368772782503038</c:v>
                </c:pt>
                <c:pt idx="5">
                  <c:v>0.6890837091125507</c:v>
                </c:pt>
                <c:pt idx="6">
                  <c:v>0.6934379142730889</c:v>
                </c:pt>
                <c:pt idx="7">
                  <c:v>0.7227855366366941</c:v>
                </c:pt>
                <c:pt idx="8">
                  <c:v>0.669632112772907</c:v>
                </c:pt>
                <c:pt idx="9">
                  <c:v>0.691899239624485</c:v>
                </c:pt>
                <c:pt idx="10">
                  <c:v>0.6953950428599907</c:v>
                </c:pt>
                <c:pt idx="11">
                  <c:v>0.6958955627120842</c:v>
                </c:pt>
                <c:pt idx="12">
                  <c:v>0.7015309058819016</c:v>
                </c:pt>
                <c:pt idx="13">
                  <c:v>0.6925142665323935</c:v>
                </c:pt>
                <c:pt idx="14">
                  <c:v>0.661204645718916</c:v>
                </c:pt>
                <c:pt idx="15">
                  <c:v>0.6925341401586393</c:v>
                </c:pt>
                <c:pt idx="16">
                  <c:v>0.6798121106913101</c:v>
                </c:pt>
                <c:pt idx="17">
                  <c:v>0.6845681462628715</c:v>
                </c:pt>
                <c:pt idx="18">
                  <c:v>0.7038616338518437</c:v>
                </c:pt>
                <c:pt idx="19">
                  <c:v>0.6814969781496978</c:v>
                </c:pt>
                <c:pt idx="20">
                  <c:v>0.6965514294260929</c:v>
                </c:pt>
                <c:pt idx="21">
                  <c:v>0.7199698875488151</c:v>
                </c:pt>
                <c:pt idx="22">
                  <c:v>0.6602592140703055</c:v>
                </c:pt>
                <c:pt idx="23">
                  <c:v>0.675682585131404</c:v>
                </c:pt>
                <c:pt idx="24">
                  <c:v>0.723388145760935</c:v>
                </c:pt>
                <c:pt idx="25">
                  <c:v>0.7234249167043381</c:v>
                </c:pt>
                <c:pt idx="26">
                  <c:v>0.6954464096107758</c:v>
                </c:pt>
                <c:pt idx="27">
                  <c:v>0.688368204424627</c:v>
                </c:pt>
                <c:pt idx="28">
                  <c:v>0.6989818835154963</c:v>
                </c:pt>
                <c:pt idx="29">
                  <c:v>0.6855965021861337</c:v>
                </c:pt>
                <c:pt idx="30">
                  <c:v>0.7268080854661441</c:v>
                </c:pt>
                <c:pt idx="31">
                  <c:v>0.7130896019638786</c:v>
                </c:pt>
                <c:pt idx="32">
                  <c:v>0.7500715717148583</c:v>
                </c:pt>
                <c:pt idx="33">
                  <c:v>0.6990562580172256</c:v>
                </c:pt>
                <c:pt idx="34">
                  <c:v>0.6923002942930235</c:v>
                </c:pt>
                <c:pt idx="35">
                  <c:v>0.6680664555509661</c:v>
                </c:pt>
                <c:pt idx="36">
                  <c:v>0.6963146629368259</c:v>
                </c:pt>
                <c:pt idx="37">
                  <c:v>0.6834120096472965</c:v>
                </c:pt>
                <c:pt idx="38">
                  <c:v>0.6813829470887933</c:v>
                </c:pt>
                <c:pt idx="39">
                  <c:v>0.67309180987769</c:v>
                </c:pt>
                <c:pt idx="40">
                  <c:v>0.6707068958053763</c:v>
                </c:pt>
                <c:pt idx="41">
                  <c:v>0.674028456147802</c:v>
                </c:pt>
                <c:pt idx="42">
                  <c:v>0.6818340629303081</c:v>
                </c:pt>
                <c:pt idx="43">
                  <c:v>0.7041397212860916</c:v>
                </c:pt>
                <c:pt idx="44">
                  <c:v>0.6964378400199926</c:v>
                </c:pt>
                <c:pt idx="45">
                  <c:v>0.6813164893617021</c:v>
                </c:pt>
                <c:pt idx="46">
                  <c:v>0.6883757859273406</c:v>
                </c:pt>
                <c:pt idx="47">
                  <c:v>0.6825002587188244</c:v>
                </c:pt>
                <c:pt idx="48">
                  <c:v>0.7033627884143349</c:v>
                </c:pt>
                <c:pt idx="49">
                  <c:v>0.6554066805057558</c:v>
                </c:pt>
                <c:pt idx="50">
                  <c:v>0.7440563788993678</c:v>
                </c:pt>
                <c:pt idx="51">
                  <c:v>0.7129136982595364</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5607861614735979</c:v>
                </c:pt>
              </c:numCache>
            </c:numRef>
          </c:xVal>
          <c:yVal>
            <c:numRef>
              <c:f>Sheet1!$B$102:$B$103</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5607861614735979</c:v>
                </c:pt>
                <c:pt idx="1">
                  <c:v>0.5607861614735979</c:v>
                </c:pt>
              </c:numCache>
            </c:numRef>
          </c:xVal>
          <c:yVal>
            <c:numRef>
              <c:f>Sheet1!$B$106:$B$107</c:f>
              <c:numCache>
                <c:formatCode>General</c:formatCode>
                <c:ptCount val="2"/>
                <c:pt idx="0">
                  <c:v>0.70026742624144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5607861614735979</c:v>
                </c:pt>
              </c:numCache>
            </c:numRef>
          </c:xVal>
          <c:yVal>
            <c:numRef>
              <c:f>Sheet1!$B$110:$B$111</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5607861614735979</c:v>
                </c:pt>
                <c:pt idx="1">
                  <c:v>0.5607861614735979</c:v>
                </c:pt>
              </c:numCache>
            </c:numRef>
          </c:xVal>
          <c:yVal>
            <c:numRef>
              <c:f>Sheet1!$B$114:$B$115</c:f>
              <c:numCache>
                <c:formatCode>General</c:formatCode>
                <c:ptCount val="2"/>
                <c:pt idx="0">
                  <c:v>0.700267426241449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4522646463075779</c:v>
                </c:pt>
              </c:numCache>
            </c:numRef>
          </c:xVal>
          <c:yVal>
            <c:numRef>
              <c:f>Sheet1!$B$118:$B$119</c:f>
              <c:numCache>
                <c:formatCode>General</c:formatCode>
                <c:ptCount val="2"/>
                <c:pt idx="0">
                  <c:v>0.689859297396471</c:v>
                </c:pt>
                <c:pt idx="1">
                  <c:v>0.68985929739647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4522646463075779</c:v>
                </c:pt>
                <c:pt idx="1">
                  <c:v>0.4522646463075779</c:v>
                </c:pt>
              </c:numCache>
            </c:numRef>
          </c:xVal>
          <c:yVal>
            <c:numRef>
              <c:f>Sheet1!$B$122:$B$123</c:f>
              <c:numCache>
                <c:formatCode>General</c:formatCode>
                <c:ptCount val="2"/>
                <c:pt idx="0">
                  <c:v>0.68985929739647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pt idx="52">
                  <c:v>0.5607861614735979</c:v>
                </c:pt>
                <c:pt idx="53">
                  <c:v>0.5607861614735979</c:v>
                </c:pt>
                <c:pt idx="54">
                  <c:v>0.4522646463075779</c:v>
                </c:pt>
              </c:numCache>
            </c:numRef>
          </c:xVal>
          <c:yVal>
            <c:numRef>
              <c:f>Sheet1!$B$126:$B$180</c:f>
              <c:numCache>
                <c:formatCode>General</c:formatCode>
                <c:ptCount val="55"/>
                <c:pt idx="0">
                  <c:v>0.6956067259489277</c:v>
                </c:pt>
                <c:pt idx="1">
                  <c:v>0.6971082797118988</c:v>
                </c:pt>
                <c:pt idx="2">
                  <c:v>0.6970886313563692</c:v>
                </c:pt>
                <c:pt idx="3">
                  <c:v>0.6970980665132005</c:v>
                </c:pt>
                <c:pt idx="4">
                  <c:v>0.6971122206256013</c:v>
                </c:pt>
                <c:pt idx="5">
                  <c:v>0.6970230082034935</c:v>
                </c:pt>
                <c:pt idx="6">
                  <c:v>0.6969113307382127</c:v>
                </c:pt>
                <c:pt idx="7">
                  <c:v>0.6971666679154671</c:v>
                </c:pt>
                <c:pt idx="8">
                  <c:v>0.6971919442464152</c:v>
                </c:pt>
                <c:pt idx="9">
                  <c:v>0.6970294134101378</c:v>
                </c:pt>
                <c:pt idx="10">
                  <c:v>0.6970156441116792</c:v>
                </c:pt>
                <c:pt idx="11">
                  <c:v>0.696985487810481</c:v>
                </c:pt>
                <c:pt idx="12">
                  <c:v>0.697215325054693</c:v>
                </c:pt>
                <c:pt idx="13">
                  <c:v>0.697630361868978</c:v>
                </c:pt>
                <c:pt idx="14">
                  <c:v>0.6966200145797264</c:v>
                </c:pt>
                <c:pt idx="15">
                  <c:v>0.6972760310398738</c:v>
                </c:pt>
                <c:pt idx="16">
                  <c:v>0.6970252771107628</c:v>
                </c:pt>
                <c:pt idx="17">
                  <c:v>0.6968161483010971</c:v>
                </c:pt>
                <c:pt idx="18">
                  <c:v>0.6974203723686548</c:v>
                </c:pt>
                <c:pt idx="19">
                  <c:v>0.6968171277680156</c:v>
                </c:pt>
                <c:pt idx="20">
                  <c:v>0.6973144563542317</c:v>
                </c:pt>
                <c:pt idx="21">
                  <c:v>0.696997480455818</c:v>
                </c:pt>
                <c:pt idx="22">
                  <c:v>0.6923299196274466</c:v>
                </c:pt>
                <c:pt idx="23">
                  <c:v>0.6920733042412812</c:v>
                </c:pt>
                <c:pt idx="24">
                  <c:v>0.6924176197094517</c:v>
                </c:pt>
                <c:pt idx="25">
                  <c:v>0.6962357220669216</c:v>
                </c:pt>
                <c:pt idx="26">
                  <c:v>0.6937843458618166</c:v>
                </c:pt>
                <c:pt idx="27">
                  <c:v>0.6935911763116761</c:v>
                </c:pt>
                <c:pt idx="28">
                  <c:v>0.6939243318346152</c:v>
                </c:pt>
                <c:pt idx="29">
                  <c:v>0.6939345270995614</c:v>
                </c:pt>
                <c:pt idx="30">
                  <c:v>0.693499803065036</c:v>
                </c:pt>
                <c:pt idx="31">
                  <c:v>0.6937748858577457</c:v>
                </c:pt>
                <c:pt idx="32">
                  <c:v>0.6940764574307814</c:v>
                </c:pt>
                <c:pt idx="33">
                  <c:v>0.6931404517785706</c:v>
                </c:pt>
                <c:pt idx="34">
                  <c:v>0.6941687648938478</c:v>
                </c:pt>
                <c:pt idx="35">
                  <c:v>0.6938627044526551</c:v>
                </c:pt>
                <c:pt idx="36">
                  <c:v>0.6934063774656031</c:v>
                </c:pt>
                <c:pt idx="37">
                  <c:v>0.6937851393321042</c:v>
                </c:pt>
                <c:pt idx="38">
                  <c:v>0.6937898940950769</c:v>
                </c:pt>
                <c:pt idx="39">
                  <c:v>0.6937805367324621</c:v>
                </c:pt>
                <c:pt idx="40">
                  <c:v>0.693620972750599</c:v>
                </c:pt>
                <c:pt idx="41">
                  <c:v>0.6941688276383554</c:v>
                </c:pt>
                <c:pt idx="42">
                  <c:v>0.6940353280794845</c:v>
                </c:pt>
                <c:pt idx="43">
                  <c:v>0.693858971880696</c:v>
                </c:pt>
                <c:pt idx="44">
                  <c:v>0.6933475246812142</c:v>
                </c:pt>
                <c:pt idx="45">
                  <c:v>0.6943180642846417</c:v>
                </c:pt>
                <c:pt idx="46">
                  <c:v>0.6938374745629778</c:v>
                </c:pt>
                <c:pt idx="47">
                  <c:v>0.693697610133191</c:v>
                </c:pt>
                <c:pt idx="48">
                  <c:v>0.6938110768384141</c:v>
                </c:pt>
                <c:pt idx="49">
                  <c:v>0.6937368528579108</c:v>
                </c:pt>
                <c:pt idx="50">
                  <c:v>0.6939588461242333</c:v>
                </c:pt>
                <c:pt idx="51">
                  <c:v>0.6933728665344544</c:v>
                </c:pt>
                <c:pt idx="52">
                  <c:v>0.7002674262414493</c:v>
                </c:pt>
                <c:pt idx="53">
                  <c:v>0.7002674262414493</c:v>
                </c:pt>
                <c:pt idx="54">
                  <c:v>0.68985929739647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00858860578299"/>
          <c:min val="0.471880124399208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6589075428296769</c:v>
                </c:pt>
                <c:pt idx="1">
                  <c:v>0.6654925270908246</c:v>
                </c:pt>
                <c:pt idx="2">
                  <c:v>0.7181537051884092</c:v>
                </c:pt>
                <c:pt idx="3">
                  <c:v>0.6606903714231053</c:v>
                </c:pt>
                <c:pt idx="4">
                  <c:v>0.6998635101426084</c:v>
                </c:pt>
                <c:pt idx="5">
                  <c:v>0.7020122359239078</c:v>
                </c:pt>
                <c:pt idx="6">
                  <c:v>0.6873107407114832</c:v>
                </c:pt>
                <c:pt idx="7">
                  <c:v>0.6509713140184239</c:v>
                </c:pt>
                <c:pt idx="8">
                  <c:v>0.6661274102575314</c:v>
                </c:pt>
                <c:pt idx="9">
                  <c:v>0.6467870109426969</c:v>
                </c:pt>
                <c:pt idx="10">
                  <c:v>0.6523832195947733</c:v>
                </c:pt>
                <c:pt idx="11">
                  <c:v>0.6586452999389775</c:v>
                </c:pt>
                <c:pt idx="12">
                  <c:v>0.6700501124974433</c:v>
                </c:pt>
                <c:pt idx="13">
                  <c:v>0.6916661193931831</c:v>
                </c:pt>
                <c:pt idx="14">
                  <c:v>0.6834437086092715</c:v>
                </c:pt>
                <c:pt idx="15">
                  <c:v>0.6801608207403299</c:v>
                </c:pt>
                <c:pt idx="16">
                  <c:v>0.6354442077161999</c:v>
                </c:pt>
                <c:pt idx="17">
                  <c:v>0.6856527010642597</c:v>
                </c:pt>
                <c:pt idx="18">
                  <c:v>0.7082033400623968</c:v>
                </c:pt>
                <c:pt idx="19">
                  <c:v>0.6824633633720093</c:v>
                </c:pt>
                <c:pt idx="20">
                  <c:v>0.728625603309584</c:v>
                </c:pt>
                <c:pt idx="21">
                  <c:v>0.6914407624701435</c:v>
                </c:pt>
                <c:pt idx="22">
                  <c:v>0.6790274029478929</c:v>
                </c:pt>
                <c:pt idx="23">
                  <c:v>0.7216016811713378</c:v>
                </c:pt>
                <c:pt idx="24">
                  <c:v>0.7223072996426748</c:v>
                </c:pt>
                <c:pt idx="25">
                  <c:v>0.6737562366357804</c:v>
                </c:pt>
                <c:pt idx="26">
                  <c:v>0.6788928510782816</c:v>
                </c:pt>
                <c:pt idx="27">
                  <c:v>0.6217411190730294</c:v>
                </c:pt>
                <c:pt idx="28">
                  <c:v>0.6606935577481138</c:v>
                </c:pt>
                <c:pt idx="29">
                  <c:v>0.6452843075872275</c:v>
                </c:pt>
                <c:pt idx="30">
                  <c:v>0.6667162071784202</c:v>
                </c:pt>
                <c:pt idx="31">
                  <c:v>0.6727563142657482</c:v>
                </c:pt>
                <c:pt idx="32">
                  <c:v>0.6847950027266868</c:v>
                </c:pt>
                <c:pt idx="33">
                  <c:v>0.5898501554990104</c:v>
                </c:pt>
                <c:pt idx="34">
                  <c:v>0.6657734697206236</c:v>
                </c:pt>
                <c:pt idx="35">
                  <c:v>0.66684359927073</c:v>
                </c:pt>
                <c:pt idx="36">
                  <c:v>0.695145225741039</c:v>
                </c:pt>
                <c:pt idx="37">
                  <c:v>0.6607056782030271</c:v>
                </c:pt>
                <c:pt idx="38">
                  <c:v>0.6690307912815697</c:v>
                </c:pt>
                <c:pt idx="39">
                  <c:v>0.6917789260011072</c:v>
                </c:pt>
                <c:pt idx="40">
                  <c:v>0.6810860313526909</c:v>
                </c:pt>
                <c:pt idx="41">
                  <c:v>0.6990303914924673</c:v>
                </c:pt>
                <c:pt idx="42">
                  <c:v>0.7078084916265529</c:v>
                </c:pt>
                <c:pt idx="43">
                  <c:v>0.7130115325619709</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7293646965354822</c:v>
                </c:pt>
                <c:pt idx="1">
                  <c:v>0.7145195849483593</c:v>
                </c:pt>
                <c:pt idx="2">
                  <c:v>0.7036083598760854</c:v>
                </c:pt>
                <c:pt idx="3">
                  <c:v>0.6594465976549085</c:v>
                </c:pt>
                <c:pt idx="4">
                  <c:v>0.7368772782503038</c:v>
                </c:pt>
                <c:pt idx="5">
                  <c:v>0.6890837091125507</c:v>
                </c:pt>
                <c:pt idx="6">
                  <c:v>0.6934379142730889</c:v>
                </c:pt>
                <c:pt idx="7">
                  <c:v>0.7227855366366941</c:v>
                </c:pt>
                <c:pt idx="8">
                  <c:v>0.669632112772907</c:v>
                </c:pt>
                <c:pt idx="9">
                  <c:v>0.691899239624485</c:v>
                </c:pt>
                <c:pt idx="10">
                  <c:v>0.6953950428599907</c:v>
                </c:pt>
                <c:pt idx="11">
                  <c:v>0.6958955627120842</c:v>
                </c:pt>
                <c:pt idx="12">
                  <c:v>0.7015309058819016</c:v>
                </c:pt>
                <c:pt idx="13">
                  <c:v>0.6925142665323935</c:v>
                </c:pt>
                <c:pt idx="14">
                  <c:v>0.661204645718916</c:v>
                </c:pt>
                <c:pt idx="15">
                  <c:v>0.6925341401586393</c:v>
                </c:pt>
                <c:pt idx="16">
                  <c:v>0.6798121106913101</c:v>
                </c:pt>
                <c:pt idx="17">
                  <c:v>0.6845681462628715</c:v>
                </c:pt>
                <c:pt idx="18">
                  <c:v>0.7038616338518437</c:v>
                </c:pt>
                <c:pt idx="19">
                  <c:v>0.6814969781496978</c:v>
                </c:pt>
                <c:pt idx="20">
                  <c:v>0.6965514294260929</c:v>
                </c:pt>
                <c:pt idx="21">
                  <c:v>0.7199698875488151</c:v>
                </c:pt>
                <c:pt idx="22">
                  <c:v>0.6602592140703055</c:v>
                </c:pt>
                <c:pt idx="23">
                  <c:v>0.675682585131404</c:v>
                </c:pt>
                <c:pt idx="24">
                  <c:v>0.723388145760935</c:v>
                </c:pt>
                <c:pt idx="25">
                  <c:v>0.7234249167043381</c:v>
                </c:pt>
                <c:pt idx="26">
                  <c:v>0.6954464096107758</c:v>
                </c:pt>
                <c:pt idx="27">
                  <c:v>0.688368204424627</c:v>
                </c:pt>
                <c:pt idx="28">
                  <c:v>0.6989818835154963</c:v>
                </c:pt>
                <c:pt idx="29">
                  <c:v>0.6855965021861337</c:v>
                </c:pt>
                <c:pt idx="30">
                  <c:v>0.7268080854661441</c:v>
                </c:pt>
                <c:pt idx="31">
                  <c:v>0.7130896019638786</c:v>
                </c:pt>
                <c:pt idx="32">
                  <c:v>0.7500715717148583</c:v>
                </c:pt>
                <c:pt idx="33">
                  <c:v>0.6990562580172256</c:v>
                </c:pt>
                <c:pt idx="34">
                  <c:v>0.6923002942930235</c:v>
                </c:pt>
                <c:pt idx="35">
                  <c:v>0.6680664555509661</c:v>
                </c:pt>
                <c:pt idx="36">
                  <c:v>0.6963146629368259</c:v>
                </c:pt>
                <c:pt idx="37">
                  <c:v>0.6834120096472965</c:v>
                </c:pt>
                <c:pt idx="38">
                  <c:v>0.6813829470887933</c:v>
                </c:pt>
                <c:pt idx="39">
                  <c:v>0.67309180987769</c:v>
                </c:pt>
                <c:pt idx="40">
                  <c:v>0.6707068958053763</c:v>
                </c:pt>
                <c:pt idx="41">
                  <c:v>0.674028456147802</c:v>
                </c:pt>
                <c:pt idx="42">
                  <c:v>0.6818340629303081</c:v>
                </c:pt>
                <c:pt idx="43">
                  <c:v>0.7041397212860916</c:v>
                </c:pt>
                <c:pt idx="44">
                  <c:v>0.6964378400199926</c:v>
                </c:pt>
                <c:pt idx="45">
                  <c:v>0.6813164893617021</c:v>
                </c:pt>
                <c:pt idx="46">
                  <c:v>0.6883757859273406</c:v>
                </c:pt>
                <c:pt idx="47">
                  <c:v>0.6825002587188244</c:v>
                </c:pt>
                <c:pt idx="48">
                  <c:v>0.7033627884143349</c:v>
                </c:pt>
                <c:pt idx="49">
                  <c:v>0.6554066805057558</c:v>
                </c:pt>
                <c:pt idx="50">
                  <c:v>0.7440563788993678</c:v>
                </c:pt>
                <c:pt idx="51">
                  <c:v>0.7129136982595364</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882580925650566</c:v>
                </c:pt>
              </c:numCache>
            </c:numRef>
          </c:xVal>
          <c:yVal>
            <c:numRef>
              <c:f>Sheet1!$B$102:$B$103</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882580925650566</c:v>
                </c:pt>
                <c:pt idx="1">
                  <c:v>2.882580925650566</c:v>
                </c:pt>
              </c:numCache>
            </c:numRef>
          </c:xVal>
          <c:yVal>
            <c:numRef>
              <c:f>Sheet1!$B$106:$B$107</c:f>
              <c:numCache>
                <c:formatCode>General</c:formatCode>
                <c:ptCount val="2"/>
                <c:pt idx="0">
                  <c:v>0.70026742624144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882580925650566</c:v>
                </c:pt>
              </c:numCache>
            </c:numRef>
          </c:xVal>
          <c:yVal>
            <c:numRef>
              <c:f>Sheet1!$B$110:$B$111</c:f>
              <c:numCache>
                <c:formatCode>General</c:formatCode>
                <c:ptCount val="2"/>
                <c:pt idx="0">
                  <c:v>0.7002674262414493</c:v>
                </c:pt>
                <c:pt idx="1">
                  <c:v>0.7002674262414493</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882580925650566</c:v>
                </c:pt>
                <c:pt idx="1">
                  <c:v>2.882580925650566</c:v>
                </c:pt>
              </c:numCache>
            </c:numRef>
          </c:xVal>
          <c:yVal>
            <c:numRef>
              <c:f>Sheet1!$B$114:$B$115</c:f>
              <c:numCache>
                <c:formatCode>General</c:formatCode>
                <c:ptCount val="2"/>
                <c:pt idx="0">
                  <c:v>0.700267426241449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3234367038240626</c:v>
                </c:pt>
              </c:numCache>
            </c:numRef>
          </c:xVal>
          <c:yVal>
            <c:numRef>
              <c:f>Sheet1!$B$118:$B$119</c:f>
              <c:numCache>
                <c:formatCode>General</c:formatCode>
                <c:ptCount val="2"/>
                <c:pt idx="0">
                  <c:v>0.689859297396471</c:v>
                </c:pt>
                <c:pt idx="1">
                  <c:v>0.689859297396471</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3234367038240626</c:v>
                </c:pt>
                <c:pt idx="1">
                  <c:v>2.3234367038240626</c:v>
                </c:pt>
              </c:numCache>
            </c:numRef>
          </c:xVal>
          <c:yVal>
            <c:numRef>
              <c:f>Sheet1!$B$122:$B$123</c:f>
              <c:numCache>
                <c:formatCode>General</c:formatCode>
                <c:ptCount val="2"/>
                <c:pt idx="0">
                  <c:v>0.68985929739647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882580925650566</c:v>
                </c:pt>
                <c:pt idx="53">
                  <c:v>2.882580925650566</c:v>
                </c:pt>
                <c:pt idx="54">
                  <c:v>2.3234367038240626</c:v>
                </c:pt>
              </c:numCache>
            </c:numRef>
          </c:xVal>
          <c:yVal>
            <c:numRef>
              <c:f>Sheet1!$B$126:$B$180</c:f>
              <c:numCache>
                <c:formatCode>General</c:formatCode>
                <c:ptCount val="55"/>
                <c:pt idx="0">
                  <c:v>0.6956067379382004</c:v>
                </c:pt>
                <c:pt idx="1">
                  <c:v>0.6971014734887558</c:v>
                </c:pt>
                <c:pt idx="2">
                  <c:v>0.697082859098338</c:v>
                </c:pt>
                <c:pt idx="3">
                  <c:v>0.6970903048545052</c:v>
                </c:pt>
                <c:pt idx="4">
                  <c:v>0.6971014734887558</c:v>
                </c:pt>
                <c:pt idx="5">
                  <c:v>0.6970232930490008</c:v>
                </c:pt>
                <c:pt idx="6">
                  <c:v>0.6969060223893682</c:v>
                </c:pt>
                <c:pt idx="7">
                  <c:v>0.6971498709038424</c:v>
                </c:pt>
                <c:pt idx="8">
                  <c:v>0.6971908225627617</c:v>
                </c:pt>
                <c:pt idx="9">
                  <c:v>0.6970139858537918</c:v>
                </c:pt>
                <c:pt idx="10">
                  <c:v>0.6970139858537918</c:v>
                </c:pt>
                <c:pt idx="11">
                  <c:v>0.6969897871462486</c:v>
                </c:pt>
                <c:pt idx="12">
                  <c:v>0.6972131598312631</c:v>
                </c:pt>
                <c:pt idx="13">
                  <c:v>0.6976152306642892</c:v>
                </c:pt>
                <c:pt idx="14">
                  <c:v>0.6966193607769329</c:v>
                </c:pt>
                <c:pt idx="15">
                  <c:v>0.6972727258806003</c:v>
                </c:pt>
                <c:pt idx="16">
                  <c:v>0.6970177087318754</c:v>
                </c:pt>
                <c:pt idx="17">
                  <c:v>0.696811088998237</c:v>
                </c:pt>
                <c:pt idx="18">
                  <c:v>0.6974216410039433</c:v>
                </c:pt>
                <c:pt idx="19">
                  <c:v>0.696811088998237</c:v>
                </c:pt>
                <c:pt idx="20">
                  <c:v>0.6973080932223943</c:v>
                </c:pt>
                <c:pt idx="21">
                  <c:v>0.696986064268165</c:v>
                </c:pt>
                <c:pt idx="22">
                  <c:v>0.6923454967369884</c:v>
                </c:pt>
                <c:pt idx="23">
                  <c:v>0.6920886181492217</c:v>
                </c:pt>
                <c:pt idx="24">
                  <c:v>0.6924329843719524</c:v>
                </c:pt>
                <c:pt idx="25">
                  <c:v>0.696232181456241</c:v>
                </c:pt>
                <c:pt idx="26">
                  <c:v>0.6937899734334156</c:v>
                </c:pt>
                <c:pt idx="27">
                  <c:v>0.6935963837730696</c:v>
                </c:pt>
                <c:pt idx="28">
                  <c:v>0.6939314428005915</c:v>
                </c:pt>
                <c:pt idx="29">
                  <c:v>0.6939351656786751</c:v>
                </c:pt>
                <c:pt idx="30">
                  <c:v>0.6935088961381056</c:v>
                </c:pt>
                <c:pt idx="31">
                  <c:v>0.6937713590429977</c:v>
                </c:pt>
                <c:pt idx="32">
                  <c:v>0.6940878036801016</c:v>
                </c:pt>
                <c:pt idx="33">
                  <c:v>0.6931459155249571</c:v>
                </c:pt>
                <c:pt idx="34">
                  <c:v>0.6941697069979403</c:v>
                </c:pt>
                <c:pt idx="35">
                  <c:v>0.6938662924341289</c:v>
                </c:pt>
                <c:pt idx="36">
                  <c:v>0.6934102398688909</c:v>
                </c:pt>
                <c:pt idx="37">
                  <c:v>0.6937806662382067</c:v>
                </c:pt>
                <c:pt idx="38">
                  <c:v>0.6937918348724574</c:v>
                </c:pt>
                <c:pt idx="39">
                  <c:v>0.6937806662382067</c:v>
                </c:pt>
                <c:pt idx="40">
                  <c:v>0.6936224439196548</c:v>
                </c:pt>
                <c:pt idx="41">
                  <c:v>0.694180875632191</c:v>
                </c:pt>
                <c:pt idx="42">
                  <c:v>0.6940375448259734</c:v>
                </c:pt>
                <c:pt idx="43">
                  <c:v>0.6938625695560453</c:v>
                </c:pt>
                <c:pt idx="44">
                  <c:v>0.6933488123805119</c:v>
                </c:pt>
                <c:pt idx="45">
                  <c:v>0.6943148992431998</c:v>
                </c:pt>
                <c:pt idx="46">
                  <c:v>0.6938383708485021</c:v>
                </c:pt>
                <c:pt idx="47">
                  <c:v>0.6937062086765352</c:v>
                </c:pt>
                <c:pt idx="48">
                  <c:v>0.6937918348724574</c:v>
                </c:pt>
                <c:pt idx="49">
                  <c:v>0.6937490217744963</c:v>
                </c:pt>
                <c:pt idx="50">
                  <c:v>0.6939649487033437</c:v>
                </c:pt>
                <c:pt idx="51">
                  <c:v>0.6933804568442223</c:v>
                </c:pt>
                <c:pt idx="52">
                  <c:v>0.7002674262414493</c:v>
                </c:pt>
                <c:pt idx="53">
                  <c:v>0.7002674262414493</c:v>
                </c:pt>
                <c:pt idx="54">
                  <c:v>0.68985929739647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000858860578299"/>
          <c:min val="0.471880124399208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7541719253961576</c:v>
                </c:pt>
                <c:pt idx="1">
                  <c:v>0.7559419476968381</c:v>
                </c:pt>
                <c:pt idx="2">
                  <c:v>0.7567832854238239</c:v>
                </c:pt>
                <c:pt idx="3">
                  <c:v>0.7565028395148286</c:v>
                </c:pt>
                <c:pt idx="4">
                  <c:v>0.7581685598092834</c:v>
                </c:pt>
                <c:pt idx="5">
                  <c:v>0.7576777450567943</c:v>
                </c:pt>
                <c:pt idx="6">
                  <c:v>0.7580984434160707</c:v>
                </c:pt>
                <c:pt idx="7">
                  <c:v>0.7578880942364326</c:v>
                </c:pt>
                <c:pt idx="8">
                  <c:v>0.8151030710980228</c:v>
                </c:pt>
                <c:pt idx="9">
                  <c:v>0.8874710790156349</c:v>
                </c:pt>
                <c:pt idx="10">
                  <c:v>0.8904080774084981</c:v>
                </c:pt>
                <c:pt idx="11">
                  <c:v>0.8903379610152855</c:v>
                </c:pt>
                <c:pt idx="12">
                  <c:v>0.8900574954424345</c:v>
                </c:pt>
                <c:pt idx="13">
                  <c:v>0.8914598233066893</c:v>
                </c:pt>
                <c:pt idx="14">
                  <c:v>0.8906184265881364</c:v>
                </c:pt>
                <c:pt idx="15">
                  <c:v>0.890626095491832</c:v>
                </c:pt>
                <c:pt idx="16">
                  <c:v>0.8915299396999019</c:v>
                </c:pt>
                <c:pt idx="17">
                  <c:v>0.8908988921609873</c:v>
                </c:pt>
                <c:pt idx="18">
                  <c:v>0.8911092413406254</c:v>
                </c:pt>
                <c:pt idx="19">
                  <c:v>0.8913195905202638</c:v>
                </c:pt>
                <c:pt idx="20">
                  <c:v>0.8910391249474127</c:v>
                </c:pt>
                <c:pt idx="21">
                  <c:v>0.8912570987870716</c:v>
                </c:pt>
                <c:pt idx="22">
                  <c:v>0.897497020262217</c:v>
                </c:pt>
                <c:pt idx="23">
                  <c:v>0.9066049642406395</c:v>
                </c:pt>
                <c:pt idx="24">
                  <c:v>0.9040106576917684</c:v>
                </c:pt>
                <c:pt idx="25">
                  <c:v>0.9077969429252559</c:v>
                </c:pt>
                <c:pt idx="26">
                  <c:v>0.9071658953863414</c:v>
                </c:pt>
                <c:pt idx="27">
                  <c:v>0.906681623781813</c:v>
                </c:pt>
                <c:pt idx="28">
                  <c:v>0.9062543822745759</c:v>
                </c:pt>
                <c:pt idx="29">
                  <c:v>0.9056233347356613</c:v>
                </c:pt>
                <c:pt idx="30">
                  <c:v>0.9049922871967466</c:v>
                </c:pt>
                <c:pt idx="31">
                  <c:v>0.9066115123045643</c:v>
                </c:pt>
                <c:pt idx="32">
                  <c:v>0.9061842658813631</c:v>
                </c:pt>
                <c:pt idx="33">
                  <c:v>0.9054196171913343</c:v>
                </c:pt>
                <c:pt idx="34">
                  <c:v>0.905412985556023</c:v>
                </c:pt>
                <c:pt idx="35">
                  <c:v>0.9059038003085123</c:v>
                </c:pt>
                <c:pt idx="36">
                  <c:v>0.9056233347356613</c:v>
                </c:pt>
                <c:pt idx="37">
                  <c:v>0.9058402860548272</c:v>
                </c:pt>
                <c:pt idx="38">
                  <c:v>0.9061141494881504</c:v>
                </c:pt>
                <c:pt idx="39">
                  <c:v>0.9049288368505924</c:v>
                </c:pt>
                <c:pt idx="40">
                  <c:v>0.9050624035899594</c:v>
                </c:pt>
                <c:pt idx="41">
                  <c:v>0.906464731454214</c:v>
                </c:pt>
                <c:pt idx="42">
                  <c:v>0.9070957789931287</c:v>
                </c:pt>
                <c:pt idx="43">
                  <c:v>0.9092693871827233</c:v>
                </c:pt>
              </c:numCache>
            </c:numRef>
          </c:xVal>
          <c:yVal>
            <c:numRef>
              <c:f>Sheet1!$B$2:$B$45</c:f>
              <c:numCache>
                <c:formatCode>General</c:formatCode>
                <c:ptCount val="44"/>
                <c:pt idx="0">
                  <c:v>0.6881109077456288</c:v>
                </c:pt>
                <c:pt idx="1">
                  <c:v>0.7261505113211122</c:v>
                </c:pt>
                <c:pt idx="2">
                  <c:v>0.724431571526309</c:v>
                </c:pt>
                <c:pt idx="3">
                  <c:v>0.7267365863148159</c:v>
                </c:pt>
                <c:pt idx="4">
                  <c:v>0.7197749968484568</c:v>
                </c:pt>
                <c:pt idx="5">
                  <c:v>0.727657599989162</c:v>
                </c:pt>
                <c:pt idx="6">
                  <c:v>0.7191653219891447</c:v>
                </c:pt>
                <c:pt idx="7">
                  <c:v>0.693135414260195</c:v>
                </c:pt>
                <c:pt idx="8">
                  <c:v>0.70221836553899</c:v>
                </c:pt>
                <c:pt idx="9">
                  <c:v>0.7064212978717834</c:v>
                </c:pt>
                <c:pt idx="10">
                  <c:v>0.7130110290507296</c:v>
                </c:pt>
                <c:pt idx="11">
                  <c:v>0.7150755494505494</c:v>
                </c:pt>
                <c:pt idx="12">
                  <c:v>0.7146315619824225</c:v>
                </c:pt>
                <c:pt idx="13">
                  <c:v>0.7115306433580648</c:v>
                </c:pt>
                <c:pt idx="14">
                  <c:v>0.7117337198338671</c:v>
                </c:pt>
                <c:pt idx="15">
                  <c:v>0.7075897419770751</c:v>
                </c:pt>
                <c:pt idx="16">
                  <c:v>0.6982570590754835</c:v>
                </c:pt>
                <c:pt idx="17">
                  <c:v>0.7041884713829072</c:v>
                </c:pt>
                <c:pt idx="18">
                  <c:v>0.71100069657791</c:v>
                </c:pt>
                <c:pt idx="19">
                  <c:v>0.7266144189782874</c:v>
                </c:pt>
                <c:pt idx="20">
                  <c:v>0.7126819028750678</c:v>
                </c:pt>
                <c:pt idx="21">
                  <c:v>0.7084729064039409</c:v>
                </c:pt>
                <c:pt idx="22">
                  <c:v>0.6984909426316267</c:v>
                </c:pt>
                <c:pt idx="23">
                  <c:v>0.7092798757258572</c:v>
                </c:pt>
                <c:pt idx="24">
                  <c:v>0.7275988724694628</c:v>
                </c:pt>
                <c:pt idx="25">
                  <c:v>0.7223336330766076</c:v>
                </c:pt>
                <c:pt idx="26">
                  <c:v>0.6928567380531085</c:v>
                </c:pt>
                <c:pt idx="27">
                  <c:v>0.7052255306603774</c:v>
                </c:pt>
                <c:pt idx="28">
                  <c:v>0.7149387410490103</c:v>
                </c:pt>
                <c:pt idx="29">
                  <c:v>0.7076173153874136</c:v>
                </c:pt>
                <c:pt idx="30">
                  <c:v>0.7066387165486112</c:v>
                </c:pt>
                <c:pt idx="31">
                  <c:v>0.7098631565944247</c:v>
                </c:pt>
                <c:pt idx="32">
                  <c:v>0.7057835820895523</c:v>
                </c:pt>
                <c:pt idx="33">
                  <c:v>0.691427497056078</c:v>
                </c:pt>
                <c:pt idx="34">
                  <c:v>0.6962187440476582</c:v>
                </c:pt>
                <c:pt idx="35">
                  <c:v>0.7007461175207425</c:v>
                </c:pt>
                <c:pt idx="36">
                  <c:v>0.6890163648285915</c:v>
                </c:pt>
                <c:pt idx="37">
                  <c:v>0.7265061547638414</c:v>
                </c:pt>
                <c:pt idx="38">
                  <c:v>0.707248616986658</c:v>
                </c:pt>
                <c:pt idx="39">
                  <c:v>0.7080888629927234</c:v>
                </c:pt>
                <c:pt idx="40">
                  <c:v>0.7138107838654303</c:v>
                </c:pt>
                <c:pt idx="41">
                  <c:v>0.6979340334822063</c:v>
                </c:pt>
                <c:pt idx="42">
                  <c:v>0.7251850637476828</c:v>
                </c:pt>
                <c:pt idx="43">
                  <c:v>0.7198279939797892</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8862010938157342</c:v>
                </c:pt>
                <c:pt idx="1">
                  <c:v>0.9153053354834187</c:v>
                </c:pt>
                <c:pt idx="2">
                  <c:v>0.906331066395569</c:v>
                </c:pt>
                <c:pt idx="3">
                  <c:v>0.904150890478194</c:v>
                </c:pt>
                <c:pt idx="4">
                  <c:v>0.9317066330107979</c:v>
                </c:pt>
                <c:pt idx="5">
                  <c:v>0.9051325199831721</c:v>
                </c:pt>
                <c:pt idx="6">
                  <c:v>0.9095561943490149</c:v>
                </c:pt>
                <c:pt idx="7">
                  <c:v>0.9133361379890619</c:v>
                </c:pt>
                <c:pt idx="8">
                  <c:v>0.9113728789791055</c:v>
                </c:pt>
                <c:pt idx="9">
                  <c:v>0.9117296501437286</c:v>
                </c:pt>
                <c:pt idx="10">
                  <c:v>0.91123264619268</c:v>
                </c:pt>
                <c:pt idx="11">
                  <c:v>0.9122843920908709</c:v>
                </c:pt>
                <c:pt idx="12">
                  <c:v>0.9084344107130339</c:v>
                </c:pt>
                <c:pt idx="13">
                  <c:v>0.905412985556023</c:v>
                </c:pt>
                <c:pt idx="14">
                  <c:v>0.9088486888234469</c:v>
                </c:pt>
                <c:pt idx="15">
                  <c:v>0.9091992707895106</c:v>
                </c:pt>
                <c:pt idx="16">
                  <c:v>0.9085746336675314</c:v>
                </c:pt>
                <c:pt idx="17">
                  <c:v>0.9120100960527239</c:v>
                </c:pt>
                <c:pt idx="18">
                  <c:v>0.9104676435532497</c:v>
                </c:pt>
                <c:pt idx="19">
                  <c:v>0.9101871976442545</c:v>
                </c:pt>
                <c:pt idx="20">
                  <c:v>0.9118636937315945</c:v>
                </c:pt>
                <c:pt idx="21">
                  <c:v>0.9121503190072215</c:v>
                </c:pt>
                <c:pt idx="22">
                  <c:v>0.8967959054897287</c:v>
                </c:pt>
                <c:pt idx="23">
                  <c:v>0.9002944888514935</c:v>
                </c:pt>
                <c:pt idx="24">
                  <c:v>0.9009255363904081</c:v>
                </c:pt>
                <c:pt idx="25">
                  <c:v>0.9051325199831721</c:v>
                </c:pt>
                <c:pt idx="26">
                  <c:v>0.8416181728949029</c:v>
                </c:pt>
                <c:pt idx="27">
                  <c:v>0.844001963121363</c:v>
                </c:pt>
                <c:pt idx="28">
                  <c:v>0.8471569795975601</c:v>
                </c:pt>
                <c:pt idx="29">
                  <c:v>0.8496003365586875</c:v>
                </c:pt>
                <c:pt idx="30">
                  <c:v>0.8512130136025803</c:v>
                </c:pt>
                <c:pt idx="31">
                  <c:v>0.8496003365586875</c:v>
                </c:pt>
                <c:pt idx="32">
                  <c:v>0.8524049922871968</c:v>
                </c:pt>
                <c:pt idx="33">
                  <c:v>0.8493899873790492</c:v>
                </c:pt>
                <c:pt idx="34">
                  <c:v>0.8518544485732316</c:v>
                </c:pt>
                <c:pt idx="35">
                  <c:v>0.8486187070537091</c:v>
                </c:pt>
                <c:pt idx="36">
                  <c:v>0.84735661197588</c:v>
                </c:pt>
                <c:pt idx="37">
                  <c:v>0.8501717731192596</c:v>
                </c:pt>
                <c:pt idx="38">
                  <c:v>0.8458841677184126</c:v>
                </c:pt>
                <c:pt idx="39">
                  <c:v>0.8463048660776891</c:v>
                </c:pt>
                <c:pt idx="40">
                  <c:v>0.8435812942578701</c:v>
                </c:pt>
                <c:pt idx="41">
                  <c:v>0.8463857533478232</c:v>
                </c:pt>
                <c:pt idx="42">
                  <c:v>0.8475776484610532</c:v>
                </c:pt>
                <c:pt idx="43">
                  <c:v>0.8501612677043893</c:v>
                </c:pt>
                <c:pt idx="44">
                  <c:v>0.8463749824709018</c:v>
                </c:pt>
                <c:pt idx="45">
                  <c:v>0.8497511042557667</c:v>
                </c:pt>
                <c:pt idx="46">
                  <c:v>0.8496809927785179</c:v>
                </c:pt>
                <c:pt idx="47">
                  <c:v>0.8481980086944328</c:v>
                </c:pt>
                <c:pt idx="48">
                  <c:v>0.8472864955826672</c:v>
                </c:pt>
                <c:pt idx="49">
                  <c:v>0.8488290562333474</c:v>
                </c:pt>
                <c:pt idx="50">
                  <c:v>0.8481278923012201</c:v>
                </c:pt>
                <c:pt idx="51">
                  <c:v>0.8478474267283692</c:v>
                </c:pt>
              </c:numCache>
            </c:numRef>
          </c:xVal>
          <c:yVal>
            <c:numRef>
              <c:f>Sheet1!$B$48:$B$99</c:f>
              <c:numCache>
                <c:formatCode>General</c:formatCode>
                <c:ptCount val="52"/>
                <c:pt idx="0">
                  <c:v>0.6964528052349251</c:v>
                </c:pt>
                <c:pt idx="1">
                  <c:v>0.6874586190830397</c:v>
                </c:pt>
                <c:pt idx="2">
                  <c:v>0.7305664903432156</c:v>
                </c:pt>
                <c:pt idx="3">
                  <c:v>0.7456504693288484</c:v>
                </c:pt>
                <c:pt idx="4">
                  <c:v>0.6081580350378345</c:v>
                </c:pt>
                <c:pt idx="5">
                  <c:v>0.7053378005624403</c:v>
                </c:pt>
                <c:pt idx="6">
                  <c:v>0.699782749104574</c:v>
                </c:pt>
                <c:pt idx="7">
                  <c:v>0.6850212839724945</c:v>
                </c:pt>
                <c:pt idx="8">
                  <c:v>0.6760815089013549</c:v>
                </c:pt>
                <c:pt idx="9">
                  <c:v>0.6801298097309423</c:v>
                </c:pt>
                <c:pt idx="10">
                  <c:v>0.6796989276826895</c:v>
                </c:pt>
                <c:pt idx="11">
                  <c:v>0.6858784836420287</c:v>
                </c:pt>
                <c:pt idx="12">
                  <c:v>0.6976451939535668</c:v>
                </c:pt>
                <c:pt idx="13">
                  <c:v>0.6832230123222833</c:v>
                </c:pt>
                <c:pt idx="14">
                  <c:v>0.6694354478920822</c:v>
                </c:pt>
                <c:pt idx="15">
                  <c:v>0.6723666742111255</c:v>
                </c:pt>
                <c:pt idx="16">
                  <c:v>0.6853511193553709</c:v>
                </c:pt>
                <c:pt idx="17">
                  <c:v>0.677338341352832</c:v>
                </c:pt>
                <c:pt idx="18">
                  <c:v>0.690587891113782</c:v>
                </c:pt>
                <c:pt idx="19">
                  <c:v>0.6912381365053185</c:v>
                </c:pt>
                <c:pt idx="20">
                  <c:v>0.6765637525116445</c:v>
                </c:pt>
                <c:pt idx="21">
                  <c:v>0.6629579542660438</c:v>
                </c:pt>
                <c:pt idx="22">
                  <c:v>0.6637449213919803</c:v>
                </c:pt>
                <c:pt idx="23">
                  <c:v>0.6803772493924785</c:v>
                </c:pt>
                <c:pt idx="24">
                  <c:v>0.6751516694242926</c:v>
                </c:pt>
                <c:pt idx="25">
                  <c:v>0.6642111434731626</c:v>
                </c:pt>
                <c:pt idx="26">
                  <c:v>0.6879633289310055</c:v>
                </c:pt>
                <c:pt idx="27">
                  <c:v>0.672873519096889</c:v>
                </c:pt>
                <c:pt idx="28">
                  <c:v>0.6792998829290814</c:v>
                </c:pt>
                <c:pt idx="29">
                  <c:v>0.6606679182642655</c:v>
                </c:pt>
                <c:pt idx="30">
                  <c:v>0.6832448976771822</c:v>
                </c:pt>
                <c:pt idx="31">
                  <c:v>0.6703802193768572</c:v>
                </c:pt>
                <c:pt idx="32">
                  <c:v>0.7053250927933076</c:v>
                </c:pt>
                <c:pt idx="33">
                  <c:v>0.6876186684068294</c:v>
                </c:pt>
                <c:pt idx="34">
                  <c:v>0.6720467196724282</c:v>
                </c:pt>
                <c:pt idx="35">
                  <c:v>0.6644569060713862</c:v>
                </c:pt>
                <c:pt idx="36">
                  <c:v>0.6822269218204638</c:v>
                </c:pt>
                <c:pt idx="37">
                  <c:v>0.6916487889327226</c:v>
                </c:pt>
                <c:pt idx="38">
                  <c:v>0.666102885272097</c:v>
                </c:pt>
                <c:pt idx="39">
                  <c:v>0.6671077764704084</c:v>
                </c:pt>
                <c:pt idx="40">
                  <c:v>0.6811507536708548</c:v>
                </c:pt>
                <c:pt idx="41">
                  <c:v>0.6623908141804195</c:v>
                </c:pt>
                <c:pt idx="42">
                  <c:v>0.6721093932197488</c:v>
                </c:pt>
                <c:pt idx="43">
                  <c:v>0.6908234130644959</c:v>
                </c:pt>
                <c:pt idx="44">
                  <c:v>0.6781691654236088</c:v>
                </c:pt>
                <c:pt idx="45">
                  <c:v>0.6738311411917417</c:v>
                </c:pt>
                <c:pt idx="46">
                  <c:v>0.6793787535352567</c:v>
                </c:pt>
                <c:pt idx="47">
                  <c:v>0.6656753658941843</c:v>
                </c:pt>
                <c:pt idx="48">
                  <c:v>0.6860609173868375</c:v>
                </c:pt>
                <c:pt idx="49">
                  <c:v>0.6787604342844672</c:v>
                </c:pt>
                <c:pt idx="50">
                  <c:v>0.6942860762701127</c:v>
                </c:pt>
                <c:pt idx="51">
                  <c:v>0.6856468048293127</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8057639568500496</c:v>
                </c:pt>
              </c:numCache>
            </c:numRef>
          </c:xVal>
          <c:yVal>
            <c:numRef>
              <c:f>Sheet1!$B$102:$B$103</c:f>
              <c:numCache>
                <c:formatCode>General</c:formatCode>
                <c:ptCount val="2"/>
                <c:pt idx="0">
                  <c:v>0.7170409147512645</c:v>
                </c:pt>
                <c:pt idx="1">
                  <c:v>0.7170409147512645</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8057639568500496</c:v>
                </c:pt>
                <c:pt idx="1">
                  <c:v>1.8057639568500496</c:v>
                </c:pt>
              </c:numCache>
            </c:numRef>
          </c:xVal>
          <c:yVal>
            <c:numRef>
              <c:f>Sheet1!$B$106:$B$107</c:f>
              <c:numCache>
                <c:formatCode>General</c:formatCode>
                <c:ptCount val="2"/>
                <c:pt idx="0">
                  <c:v>0.71704091475126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1262596701794338</c:v>
                </c:pt>
              </c:numCache>
            </c:numRef>
          </c:xVal>
          <c:yVal>
            <c:numRef>
              <c:f>Sheet1!$B$110:$B$111</c:f>
              <c:numCache>
                <c:formatCode>General</c:formatCode>
                <c:ptCount val="2"/>
                <c:pt idx="0">
                  <c:v>0.6906047828136888</c:v>
                </c:pt>
                <c:pt idx="1">
                  <c:v>0.6906047828136888</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1262596701794338</c:v>
                </c:pt>
                <c:pt idx="1">
                  <c:v>1.1262596701794338</c:v>
                </c:pt>
              </c:numCache>
            </c:numRef>
          </c:xVal>
          <c:yVal>
            <c:numRef>
              <c:f>Sheet1!$B$114:$B$115</c:f>
              <c:numCache>
                <c:formatCode>General</c:formatCode>
                <c:ptCount val="2"/>
                <c:pt idx="0">
                  <c:v>0.69060478281368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8050210344633609</c:v>
                </c:pt>
              </c:numCache>
            </c:numRef>
          </c:xVal>
          <c:yVal>
            <c:numRef>
              <c:f>Sheet1!$B$118:$B$119</c:f>
              <c:numCache>
                <c:formatCode>General</c:formatCode>
                <c:ptCount val="2"/>
                <c:pt idx="0">
                  <c:v>0.6781069853401115</c:v>
                </c:pt>
                <c:pt idx="1">
                  <c:v>0.6781069853401115</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8050210344633609</c:v>
                </c:pt>
                <c:pt idx="1">
                  <c:v>0.8050210344633609</c:v>
                </c:pt>
              </c:numCache>
            </c:numRef>
          </c:xVal>
          <c:yVal>
            <c:numRef>
              <c:f>Sheet1!$B$122:$B$123</c:f>
              <c:numCache>
                <c:formatCode>General</c:formatCode>
                <c:ptCount val="2"/>
                <c:pt idx="0">
                  <c:v>0.678106985340111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8862010938157342</c:v>
                </c:pt>
                <c:pt idx="1">
                  <c:v>0.9153053354834187</c:v>
                </c:pt>
                <c:pt idx="2">
                  <c:v>0.906331066395569</c:v>
                </c:pt>
                <c:pt idx="3">
                  <c:v>0.904150890478194</c:v>
                </c:pt>
                <c:pt idx="4">
                  <c:v>0.9317066330107979</c:v>
                </c:pt>
                <c:pt idx="5">
                  <c:v>0.9051325199831721</c:v>
                </c:pt>
                <c:pt idx="6">
                  <c:v>0.9095561943490149</c:v>
                </c:pt>
                <c:pt idx="7">
                  <c:v>0.9133361379890619</c:v>
                </c:pt>
                <c:pt idx="8">
                  <c:v>0.9113728789791055</c:v>
                </c:pt>
                <c:pt idx="9">
                  <c:v>0.9117296501437286</c:v>
                </c:pt>
                <c:pt idx="10">
                  <c:v>0.91123264619268</c:v>
                </c:pt>
                <c:pt idx="11">
                  <c:v>0.9122843920908709</c:v>
                </c:pt>
                <c:pt idx="12">
                  <c:v>0.9084344107130339</c:v>
                </c:pt>
                <c:pt idx="13">
                  <c:v>0.905412985556023</c:v>
                </c:pt>
                <c:pt idx="14">
                  <c:v>0.9088486888234469</c:v>
                </c:pt>
                <c:pt idx="15">
                  <c:v>0.9091992707895106</c:v>
                </c:pt>
                <c:pt idx="16">
                  <c:v>0.9085746336675314</c:v>
                </c:pt>
                <c:pt idx="17">
                  <c:v>0.9120100960527239</c:v>
                </c:pt>
                <c:pt idx="18">
                  <c:v>0.9104676435532497</c:v>
                </c:pt>
                <c:pt idx="19">
                  <c:v>0.9101871976442545</c:v>
                </c:pt>
                <c:pt idx="20">
                  <c:v>0.9118636937315945</c:v>
                </c:pt>
                <c:pt idx="21">
                  <c:v>0.9121503190072215</c:v>
                </c:pt>
                <c:pt idx="22">
                  <c:v>0.8967959054897287</c:v>
                </c:pt>
                <c:pt idx="23">
                  <c:v>0.9002944888514935</c:v>
                </c:pt>
                <c:pt idx="24">
                  <c:v>0.9009255363904081</c:v>
                </c:pt>
                <c:pt idx="25">
                  <c:v>0.9051325199831721</c:v>
                </c:pt>
                <c:pt idx="26">
                  <c:v>0.8416181728949029</c:v>
                </c:pt>
                <c:pt idx="27">
                  <c:v>0.844001963121363</c:v>
                </c:pt>
                <c:pt idx="28">
                  <c:v>0.8471569795975601</c:v>
                </c:pt>
                <c:pt idx="29">
                  <c:v>0.8496003365586875</c:v>
                </c:pt>
                <c:pt idx="30">
                  <c:v>0.8512130136025803</c:v>
                </c:pt>
                <c:pt idx="31">
                  <c:v>0.8496003365586875</c:v>
                </c:pt>
                <c:pt idx="32">
                  <c:v>0.8524049922871968</c:v>
                </c:pt>
                <c:pt idx="33">
                  <c:v>0.8493899873790492</c:v>
                </c:pt>
                <c:pt idx="34">
                  <c:v>0.8518544485732316</c:v>
                </c:pt>
                <c:pt idx="35">
                  <c:v>0.8486187070537091</c:v>
                </c:pt>
                <c:pt idx="36">
                  <c:v>0.84735661197588</c:v>
                </c:pt>
                <c:pt idx="37">
                  <c:v>0.8501717731192596</c:v>
                </c:pt>
                <c:pt idx="38">
                  <c:v>0.8458841677184126</c:v>
                </c:pt>
                <c:pt idx="39">
                  <c:v>0.8463048660776891</c:v>
                </c:pt>
                <c:pt idx="40">
                  <c:v>0.8435812942578701</c:v>
                </c:pt>
                <c:pt idx="41">
                  <c:v>0.8463857533478232</c:v>
                </c:pt>
                <c:pt idx="42">
                  <c:v>0.8475776484610532</c:v>
                </c:pt>
                <c:pt idx="43">
                  <c:v>0.8501612677043893</c:v>
                </c:pt>
                <c:pt idx="44">
                  <c:v>0.8463749824709018</c:v>
                </c:pt>
                <c:pt idx="45">
                  <c:v>0.8497511042557667</c:v>
                </c:pt>
                <c:pt idx="46">
                  <c:v>0.8496809927785179</c:v>
                </c:pt>
                <c:pt idx="47">
                  <c:v>0.8481980086944328</c:v>
                </c:pt>
                <c:pt idx="48">
                  <c:v>0.8472864955826672</c:v>
                </c:pt>
                <c:pt idx="49">
                  <c:v>0.8488290562333474</c:v>
                </c:pt>
                <c:pt idx="50">
                  <c:v>0.8481278923012201</c:v>
                </c:pt>
                <c:pt idx="51">
                  <c:v>0.8478474267283692</c:v>
                </c:pt>
                <c:pt idx="52">
                  <c:v>1.1262596701794338</c:v>
                </c:pt>
                <c:pt idx="53">
                  <c:v>1.8057639568500496</c:v>
                </c:pt>
                <c:pt idx="54">
                  <c:v>0.8050210344633609</c:v>
                </c:pt>
              </c:numCache>
            </c:numRef>
          </c:xVal>
          <c:yVal>
            <c:numRef>
              <c:f>Sheet1!$B$126:$B$180</c:f>
              <c:numCache>
                <c:formatCode>General</c:formatCode>
                <c:ptCount val="55"/>
                <c:pt idx="0">
                  <c:v>0.6812652976596036</c:v>
                </c:pt>
                <c:pt idx="1">
                  <c:v>0.6823975989382901</c:v>
                </c:pt>
                <c:pt idx="2">
                  <c:v>0.6820484547661287</c:v>
                </c:pt>
                <c:pt idx="3">
                  <c:v>0.6819636349653866</c:v>
                </c:pt>
                <c:pt idx="4">
                  <c:v>0.6830356918449672</c:v>
                </c:pt>
                <c:pt idx="5">
                  <c:v>0.6820018252867965</c:v>
                </c:pt>
                <c:pt idx="6">
                  <c:v>0.6821739284529992</c:v>
                </c:pt>
                <c:pt idx="7">
                  <c:v>0.68232098725858</c:v>
                </c:pt>
                <c:pt idx="8">
                  <c:v>0.6822446066157601</c:v>
                </c:pt>
                <c:pt idx="9">
                  <c:v>0.6822584868071945</c:v>
                </c:pt>
                <c:pt idx="10">
                  <c:v>0.6822391508555586</c:v>
                </c:pt>
                <c:pt idx="11">
                  <c:v>0.6822800690570694</c:v>
                </c:pt>
                <c:pt idx="12">
                  <c:v>0.682130285431479</c:v>
                </c:pt>
                <c:pt idx="13">
                  <c:v>0.6820127368071994</c:v>
                </c:pt>
                <c:pt idx="14">
                  <c:v>0.6821464029321344</c:v>
                </c:pt>
                <c:pt idx="15">
                  <c:v>0.6821600423326379</c:v>
                </c:pt>
                <c:pt idx="16">
                  <c:v>0.682135740809169</c:v>
                </c:pt>
                <c:pt idx="17">
                  <c:v>0.6822693975625745</c:v>
                </c:pt>
                <c:pt idx="18">
                  <c:v>0.6822093884079843</c:v>
                </c:pt>
                <c:pt idx="19">
                  <c:v>0.6821984776526043</c:v>
                </c:pt>
                <c:pt idx="20">
                  <c:v>0.6822637017764651</c:v>
                </c:pt>
                <c:pt idx="21">
                  <c:v>0.6822748529402646</c:v>
                </c:pt>
                <c:pt idx="22">
                  <c:v>0.6816774890832072</c:v>
                </c:pt>
                <c:pt idx="23">
                  <c:v>0.6818136015598473</c:v>
                </c:pt>
                <c:pt idx="24">
                  <c:v>0.6818381524807536</c:v>
                </c:pt>
                <c:pt idx="25">
                  <c:v>0.6820018252867965</c:v>
                </c:pt>
                <c:pt idx="26">
                  <c:v>0.679530797962184</c:v>
                </c:pt>
                <c:pt idx="27">
                  <c:v>0.6796235393829143</c:v>
                </c:pt>
                <c:pt idx="28">
                  <c:v>0.6797462853809397</c:v>
                </c:pt>
                <c:pt idx="29">
                  <c:v>0.6798413442470309</c:v>
                </c:pt>
                <c:pt idx="30">
                  <c:v>0.6799040854893473</c:v>
                </c:pt>
                <c:pt idx="31">
                  <c:v>0.6798413442470309</c:v>
                </c:pt>
                <c:pt idx="32">
                  <c:v>0.6799504594510595</c:v>
                </c:pt>
                <c:pt idx="33">
                  <c:v>0.6798331606067287</c:v>
                </c:pt>
                <c:pt idx="34">
                  <c:v>0.6799290405335555</c:v>
                </c:pt>
                <c:pt idx="35">
                  <c:v>0.6798031539256209</c:v>
                </c:pt>
                <c:pt idx="36">
                  <c:v>0.679754052083808</c:v>
                </c:pt>
                <c:pt idx="37">
                  <c:v>0.6798635760012752</c:v>
                </c:pt>
                <c:pt idx="38">
                  <c:v>0.6796967666016931</c:v>
                </c:pt>
                <c:pt idx="39">
                  <c:v>0.6797131338822974</c:v>
                </c:pt>
                <c:pt idx="40">
                  <c:v>0.6796071732498442</c:v>
                </c:pt>
                <c:pt idx="41">
                  <c:v>0.6797162808036447</c:v>
                </c:pt>
                <c:pt idx="42">
                  <c:v>0.6797626515140098</c:v>
                </c:pt>
                <c:pt idx="43">
                  <c:v>0.6798631672878366</c:v>
                </c:pt>
                <c:pt idx="44">
                  <c:v>0.6797158617623981</c:v>
                </c:pt>
                <c:pt idx="45">
                  <c:v>0.6798472098682051</c:v>
                </c:pt>
                <c:pt idx="46">
                  <c:v>0.6798444821793602</c:v>
                </c:pt>
                <c:pt idx="47">
                  <c:v>0.6797867866450166</c:v>
                </c:pt>
                <c:pt idx="48">
                  <c:v>0.6797513242037073</c:v>
                </c:pt>
                <c:pt idx="49">
                  <c:v>0.679811337565923</c:v>
                </c:pt>
                <c:pt idx="50">
                  <c:v>0.6797840587649159</c:v>
                </c:pt>
                <c:pt idx="51">
                  <c:v>0.679773147244513</c:v>
                </c:pt>
                <c:pt idx="52">
                  <c:v>0.6906047828136888</c:v>
                </c:pt>
                <c:pt idx="53">
                  <c:v>0.7170409147512645</c:v>
                </c:pt>
                <c:pt idx="54">
                  <c:v>0.67810698534011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47805631946181"/>
          <c:min val="0.486526428030267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0756</c:v>
                </c:pt>
                <c:pt idx="1">
                  <c:v>1.0782</c:v>
                </c:pt>
                <c:pt idx="2">
                  <c:v>1.0794</c:v>
                </c:pt>
                <c:pt idx="3">
                  <c:v>1.079</c:v>
                </c:pt>
                <c:pt idx="4">
                  <c:v>1.0813</c:v>
                </c:pt>
                <c:pt idx="5">
                  <c:v>1.0806</c:v>
                </c:pt>
                <c:pt idx="6">
                  <c:v>1.0812</c:v>
                </c:pt>
                <c:pt idx="7">
                  <c:v>1.0809</c:v>
                </c:pt>
                <c:pt idx="8">
                  <c:v>1.1625</c:v>
                </c:pt>
                <c:pt idx="9">
                  <c:v>1.2658</c:v>
                </c:pt>
                <c:pt idx="10">
                  <c:v>1.2699</c:v>
                </c:pt>
                <c:pt idx="11">
                  <c:v>1.2698</c:v>
                </c:pt>
                <c:pt idx="12">
                  <c:v>1.2694</c:v>
                </c:pt>
                <c:pt idx="13">
                  <c:v>1.2714</c:v>
                </c:pt>
                <c:pt idx="14">
                  <c:v>1.2702</c:v>
                </c:pt>
                <c:pt idx="15">
                  <c:v>1.2703</c:v>
                </c:pt>
                <c:pt idx="16">
                  <c:v>1.2715</c:v>
                </c:pt>
                <c:pt idx="17">
                  <c:v>1.2706</c:v>
                </c:pt>
                <c:pt idx="18">
                  <c:v>1.2709</c:v>
                </c:pt>
                <c:pt idx="19">
                  <c:v>1.2712</c:v>
                </c:pt>
                <c:pt idx="20">
                  <c:v>1.2708</c:v>
                </c:pt>
                <c:pt idx="21">
                  <c:v>1.2712</c:v>
                </c:pt>
                <c:pt idx="22">
                  <c:v>1.2801</c:v>
                </c:pt>
                <c:pt idx="23">
                  <c:v>1.293</c:v>
                </c:pt>
                <c:pt idx="24">
                  <c:v>1.2893</c:v>
                </c:pt>
                <c:pt idx="25">
                  <c:v>1.2947</c:v>
                </c:pt>
                <c:pt idx="26">
                  <c:v>1.2938</c:v>
                </c:pt>
                <c:pt idx="27">
                  <c:v>1.2932</c:v>
                </c:pt>
                <c:pt idx="28">
                  <c:v>1.2925</c:v>
                </c:pt>
                <c:pt idx="29">
                  <c:v>1.2916</c:v>
                </c:pt>
                <c:pt idx="30">
                  <c:v>1.2907</c:v>
                </c:pt>
                <c:pt idx="31">
                  <c:v>1.2931</c:v>
                </c:pt>
                <c:pt idx="32">
                  <c:v>1.2924</c:v>
                </c:pt>
                <c:pt idx="33">
                  <c:v>1.2914</c:v>
                </c:pt>
                <c:pt idx="34">
                  <c:v>1.2913</c:v>
                </c:pt>
                <c:pt idx="35">
                  <c:v>1.292</c:v>
                </c:pt>
                <c:pt idx="36">
                  <c:v>1.2916</c:v>
                </c:pt>
                <c:pt idx="37">
                  <c:v>1.292</c:v>
                </c:pt>
                <c:pt idx="38">
                  <c:v>1.2923</c:v>
                </c:pt>
                <c:pt idx="39">
                  <c:v>1.2907</c:v>
                </c:pt>
                <c:pt idx="40">
                  <c:v>1.2908</c:v>
                </c:pt>
                <c:pt idx="41">
                  <c:v>1.2928</c:v>
                </c:pt>
                <c:pt idx="42">
                  <c:v>1.2937</c:v>
                </c:pt>
                <c:pt idx="43">
                  <c:v>1.2968</c:v>
                </c:pt>
              </c:numCache>
            </c:numRef>
          </c:xVal>
          <c:yVal>
            <c:numRef>
              <c:f>Sheet1!$B$2:$B$45</c:f>
              <c:numCache>
                <c:formatCode>General</c:formatCode>
                <c:ptCount val="44"/>
                <c:pt idx="0">
                  <c:v>0.6881109077456288</c:v>
                </c:pt>
                <c:pt idx="1">
                  <c:v>0.7261505113211122</c:v>
                </c:pt>
                <c:pt idx="2">
                  <c:v>0.724431571526309</c:v>
                </c:pt>
                <c:pt idx="3">
                  <c:v>0.7267365863148159</c:v>
                </c:pt>
                <c:pt idx="4">
                  <c:v>0.7197749968484568</c:v>
                </c:pt>
                <c:pt idx="5">
                  <c:v>0.727657599989162</c:v>
                </c:pt>
                <c:pt idx="6">
                  <c:v>0.7191653219891447</c:v>
                </c:pt>
                <c:pt idx="7">
                  <c:v>0.693135414260195</c:v>
                </c:pt>
                <c:pt idx="8">
                  <c:v>0.70221836553899</c:v>
                </c:pt>
                <c:pt idx="9">
                  <c:v>0.7064212978717834</c:v>
                </c:pt>
                <c:pt idx="10">
                  <c:v>0.7130110290507296</c:v>
                </c:pt>
                <c:pt idx="11">
                  <c:v>0.7150755494505494</c:v>
                </c:pt>
                <c:pt idx="12">
                  <c:v>0.7146315619824225</c:v>
                </c:pt>
                <c:pt idx="13">
                  <c:v>0.7115306433580648</c:v>
                </c:pt>
                <c:pt idx="14">
                  <c:v>0.7117337198338671</c:v>
                </c:pt>
                <c:pt idx="15">
                  <c:v>0.7075897419770751</c:v>
                </c:pt>
                <c:pt idx="16">
                  <c:v>0.6982570590754835</c:v>
                </c:pt>
                <c:pt idx="17">
                  <c:v>0.7041884713829072</c:v>
                </c:pt>
                <c:pt idx="18">
                  <c:v>0.71100069657791</c:v>
                </c:pt>
                <c:pt idx="19">
                  <c:v>0.7266144189782874</c:v>
                </c:pt>
                <c:pt idx="20">
                  <c:v>0.7126819028750678</c:v>
                </c:pt>
                <c:pt idx="21">
                  <c:v>0.7084729064039409</c:v>
                </c:pt>
                <c:pt idx="22">
                  <c:v>0.6984909426316267</c:v>
                </c:pt>
                <c:pt idx="23">
                  <c:v>0.7092798757258572</c:v>
                </c:pt>
                <c:pt idx="24">
                  <c:v>0.7275988724694628</c:v>
                </c:pt>
                <c:pt idx="25">
                  <c:v>0.7223336330766076</c:v>
                </c:pt>
                <c:pt idx="26">
                  <c:v>0.6928567380531085</c:v>
                </c:pt>
                <c:pt idx="27">
                  <c:v>0.7052255306603774</c:v>
                </c:pt>
                <c:pt idx="28">
                  <c:v>0.7149387410490103</c:v>
                </c:pt>
                <c:pt idx="29">
                  <c:v>0.7076173153874136</c:v>
                </c:pt>
                <c:pt idx="30">
                  <c:v>0.7066387165486112</c:v>
                </c:pt>
                <c:pt idx="31">
                  <c:v>0.7098631565944247</c:v>
                </c:pt>
                <c:pt idx="32">
                  <c:v>0.7057835820895523</c:v>
                </c:pt>
                <c:pt idx="33">
                  <c:v>0.691427497056078</c:v>
                </c:pt>
                <c:pt idx="34">
                  <c:v>0.6962187440476582</c:v>
                </c:pt>
                <c:pt idx="35">
                  <c:v>0.7007461175207425</c:v>
                </c:pt>
                <c:pt idx="36">
                  <c:v>0.6890163648285915</c:v>
                </c:pt>
                <c:pt idx="37">
                  <c:v>0.7265061547638414</c:v>
                </c:pt>
                <c:pt idx="38">
                  <c:v>0.707248616986658</c:v>
                </c:pt>
                <c:pt idx="39">
                  <c:v>0.7080888629927234</c:v>
                </c:pt>
                <c:pt idx="40">
                  <c:v>0.7138107838654303</c:v>
                </c:pt>
                <c:pt idx="41">
                  <c:v>0.6979340334822063</c:v>
                </c:pt>
                <c:pt idx="42">
                  <c:v>0.7251850637476828</c:v>
                </c:pt>
                <c:pt idx="43">
                  <c:v>0.7198279939797892</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numCache>
            </c:numRef>
          </c:xVal>
          <c:yVal>
            <c:numRef>
              <c:f>Sheet1!$B$48:$B$99</c:f>
              <c:numCache>
                <c:formatCode>General</c:formatCode>
                <c:ptCount val="52"/>
                <c:pt idx="0">
                  <c:v>0.6964528052349251</c:v>
                </c:pt>
                <c:pt idx="1">
                  <c:v>0.6874586190830397</c:v>
                </c:pt>
                <c:pt idx="2">
                  <c:v>0.7305664903432156</c:v>
                </c:pt>
                <c:pt idx="3">
                  <c:v>0.7456504693288484</c:v>
                </c:pt>
                <c:pt idx="4">
                  <c:v>0.6081580350378345</c:v>
                </c:pt>
                <c:pt idx="5">
                  <c:v>0.7053378005624403</c:v>
                </c:pt>
                <c:pt idx="6">
                  <c:v>0.699782749104574</c:v>
                </c:pt>
                <c:pt idx="7">
                  <c:v>0.6850212839724945</c:v>
                </c:pt>
                <c:pt idx="8">
                  <c:v>0.6760815089013549</c:v>
                </c:pt>
                <c:pt idx="9">
                  <c:v>0.6801298097309423</c:v>
                </c:pt>
                <c:pt idx="10">
                  <c:v>0.6796989276826895</c:v>
                </c:pt>
                <c:pt idx="11">
                  <c:v>0.6858784836420287</c:v>
                </c:pt>
                <c:pt idx="12">
                  <c:v>0.6976451939535668</c:v>
                </c:pt>
                <c:pt idx="13">
                  <c:v>0.6832230123222833</c:v>
                </c:pt>
                <c:pt idx="14">
                  <c:v>0.6694354478920822</c:v>
                </c:pt>
                <c:pt idx="15">
                  <c:v>0.6723666742111255</c:v>
                </c:pt>
                <c:pt idx="16">
                  <c:v>0.6853511193553709</c:v>
                </c:pt>
                <c:pt idx="17">
                  <c:v>0.677338341352832</c:v>
                </c:pt>
                <c:pt idx="18">
                  <c:v>0.690587891113782</c:v>
                </c:pt>
                <c:pt idx="19">
                  <c:v>0.6912381365053185</c:v>
                </c:pt>
                <c:pt idx="20">
                  <c:v>0.6765637525116445</c:v>
                </c:pt>
                <c:pt idx="21">
                  <c:v>0.6629579542660438</c:v>
                </c:pt>
                <c:pt idx="22">
                  <c:v>0.6637449213919803</c:v>
                </c:pt>
                <c:pt idx="23">
                  <c:v>0.6803772493924785</c:v>
                </c:pt>
                <c:pt idx="24">
                  <c:v>0.6751516694242926</c:v>
                </c:pt>
                <c:pt idx="25">
                  <c:v>0.6642111434731626</c:v>
                </c:pt>
                <c:pt idx="26">
                  <c:v>0.6879633289310055</c:v>
                </c:pt>
                <c:pt idx="27">
                  <c:v>0.672873519096889</c:v>
                </c:pt>
                <c:pt idx="28">
                  <c:v>0.6792998829290814</c:v>
                </c:pt>
                <c:pt idx="29">
                  <c:v>0.6606679182642655</c:v>
                </c:pt>
                <c:pt idx="30">
                  <c:v>0.6832448976771822</c:v>
                </c:pt>
                <c:pt idx="31">
                  <c:v>0.6703802193768572</c:v>
                </c:pt>
                <c:pt idx="32">
                  <c:v>0.7053250927933076</c:v>
                </c:pt>
                <c:pt idx="33">
                  <c:v>0.6876186684068294</c:v>
                </c:pt>
                <c:pt idx="34">
                  <c:v>0.6720467196724282</c:v>
                </c:pt>
                <c:pt idx="35">
                  <c:v>0.6644569060713862</c:v>
                </c:pt>
                <c:pt idx="36">
                  <c:v>0.6822269218204638</c:v>
                </c:pt>
                <c:pt idx="37">
                  <c:v>0.6916487889327226</c:v>
                </c:pt>
                <c:pt idx="38">
                  <c:v>0.666102885272097</c:v>
                </c:pt>
                <c:pt idx="39">
                  <c:v>0.6671077764704084</c:v>
                </c:pt>
                <c:pt idx="40">
                  <c:v>0.6811507536708548</c:v>
                </c:pt>
                <c:pt idx="41">
                  <c:v>0.6623908141804195</c:v>
                </c:pt>
                <c:pt idx="42">
                  <c:v>0.6721093932197488</c:v>
                </c:pt>
                <c:pt idx="43">
                  <c:v>0.6908234130644959</c:v>
                </c:pt>
                <c:pt idx="44">
                  <c:v>0.6781691654236088</c:v>
                </c:pt>
                <c:pt idx="45">
                  <c:v>0.6738311411917417</c:v>
                </c:pt>
                <c:pt idx="46">
                  <c:v>0.6793787535352567</c:v>
                </c:pt>
                <c:pt idx="47">
                  <c:v>0.6656753658941843</c:v>
                </c:pt>
                <c:pt idx="48">
                  <c:v>0.6860609173868375</c:v>
                </c:pt>
                <c:pt idx="49">
                  <c:v>0.6787604342844672</c:v>
                </c:pt>
                <c:pt idx="50">
                  <c:v>0.6942860762701127</c:v>
                </c:pt>
                <c:pt idx="51">
                  <c:v>0.6856468048293127</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573743809826304</c:v>
                </c:pt>
              </c:numCache>
            </c:numRef>
          </c:xVal>
          <c:yVal>
            <c:numRef>
              <c:f>Sheet1!$B$102:$B$103</c:f>
              <c:numCache>
                <c:formatCode>General</c:formatCode>
                <c:ptCount val="2"/>
                <c:pt idx="0">
                  <c:v>0.7170409147512645</c:v>
                </c:pt>
                <c:pt idx="1">
                  <c:v>0.7170409147512645</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573743809826304</c:v>
                </c:pt>
                <c:pt idx="1">
                  <c:v>2.573743809826304</c:v>
                </c:pt>
              </c:numCache>
            </c:numRef>
          </c:xVal>
          <c:yVal>
            <c:numRef>
              <c:f>Sheet1!$B$106:$B$107</c:f>
              <c:numCache>
                <c:formatCode>General</c:formatCode>
                <c:ptCount val="2"/>
                <c:pt idx="0">
                  <c:v>0.71704091475126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1.605859880407381</c:v>
                </c:pt>
              </c:numCache>
            </c:numRef>
          </c:xVal>
          <c:yVal>
            <c:numRef>
              <c:f>Sheet1!$B$110:$B$111</c:f>
              <c:numCache>
                <c:formatCode>General</c:formatCode>
                <c:ptCount val="2"/>
                <c:pt idx="0">
                  <c:v>0.6906047828136888</c:v>
                </c:pt>
                <c:pt idx="1">
                  <c:v>0.6906047828136888</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1.605859880407381</c:v>
                </c:pt>
                <c:pt idx="1">
                  <c:v>1.605859880407381</c:v>
                </c:pt>
              </c:numCache>
            </c:numRef>
          </c:xVal>
          <c:yVal>
            <c:numRef>
              <c:f>Sheet1!$B$114:$B$115</c:f>
              <c:numCache>
                <c:formatCode>General</c:formatCode>
                <c:ptCount val="2"/>
                <c:pt idx="0">
                  <c:v>0.69060478281368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1.1482885020994122</c:v>
                </c:pt>
              </c:numCache>
            </c:numRef>
          </c:xVal>
          <c:yVal>
            <c:numRef>
              <c:f>Sheet1!$B$118:$B$119</c:f>
              <c:numCache>
                <c:formatCode>General</c:formatCode>
                <c:ptCount val="2"/>
                <c:pt idx="0">
                  <c:v>0.6781069853401115</c:v>
                </c:pt>
                <c:pt idx="1">
                  <c:v>0.6781069853401115</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1.1482885020994122</c:v>
                </c:pt>
                <c:pt idx="1">
                  <c:v>1.1482885020994122</c:v>
                </c:pt>
              </c:numCache>
            </c:numRef>
          </c:xVal>
          <c:yVal>
            <c:numRef>
              <c:f>Sheet1!$B$122:$B$123</c:f>
              <c:numCache>
                <c:formatCode>General</c:formatCode>
                <c:ptCount val="2"/>
                <c:pt idx="0">
                  <c:v>0.678106985340111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1.2639</c:v>
                </c:pt>
                <c:pt idx="1">
                  <c:v>1.3055</c:v>
                </c:pt>
                <c:pt idx="2">
                  <c:v>1.2927</c:v>
                </c:pt>
                <c:pt idx="3">
                  <c:v>1.2895</c:v>
                </c:pt>
                <c:pt idx="4">
                  <c:v>1.3288</c:v>
                </c:pt>
                <c:pt idx="5">
                  <c:v>1.2909</c:v>
                </c:pt>
                <c:pt idx="6">
                  <c:v>1.2973</c:v>
                </c:pt>
                <c:pt idx="7">
                  <c:v>1.3026</c:v>
                </c:pt>
                <c:pt idx="8">
                  <c:v>1.2998</c:v>
                </c:pt>
                <c:pt idx="9">
                  <c:v>1.3004</c:v>
                </c:pt>
                <c:pt idx="10">
                  <c:v>1.2996</c:v>
                </c:pt>
                <c:pt idx="11">
                  <c:v>1.3011</c:v>
                </c:pt>
                <c:pt idx="12">
                  <c:v>1.2957</c:v>
                </c:pt>
                <c:pt idx="13">
                  <c:v>1.2913</c:v>
                </c:pt>
                <c:pt idx="14">
                  <c:v>1.2962</c:v>
                </c:pt>
                <c:pt idx="15">
                  <c:v>1.2967</c:v>
                </c:pt>
                <c:pt idx="16">
                  <c:v>1.2959</c:v>
                </c:pt>
                <c:pt idx="17">
                  <c:v>1.3008</c:v>
                </c:pt>
                <c:pt idx="18">
                  <c:v>1.2986</c:v>
                </c:pt>
                <c:pt idx="19">
                  <c:v>1.2982</c:v>
                </c:pt>
                <c:pt idx="20">
                  <c:v>1.3005</c:v>
                </c:pt>
                <c:pt idx="21">
                  <c:v>1.301</c:v>
                </c:pt>
                <c:pt idx="22">
                  <c:v>1.2791</c:v>
                </c:pt>
                <c:pt idx="23">
                  <c:v>1.284</c:v>
                </c:pt>
                <c:pt idx="24">
                  <c:v>1.2849</c:v>
                </c:pt>
                <c:pt idx="25">
                  <c:v>1.2909</c:v>
                </c:pt>
                <c:pt idx="26">
                  <c:v>1.2004</c:v>
                </c:pt>
                <c:pt idx="27">
                  <c:v>1.2038</c:v>
                </c:pt>
                <c:pt idx="28">
                  <c:v>1.2083</c:v>
                </c:pt>
                <c:pt idx="29">
                  <c:v>1.2117</c:v>
                </c:pt>
                <c:pt idx="30">
                  <c:v>1.214</c:v>
                </c:pt>
                <c:pt idx="31">
                  <c:v>1.2117</c:v>
                </c:pt>
                <c:pt idx="32">
                  <c:v>1.2157</c:v>
                </c:pt>
                <c:pt idx="33">
                  <c:v>1.2114</c:v>
                </c:pt>
                <c:pt idx="34">
                  <c:v>1.215</c:v>
                </c:pt>
                <c:pt idx="35">
                  <c:v>1.2103</c:v>
                </c:pt>
                <c:pt idx="36">
                  <c:v>1.2085</c:v>
                </c:pt>
                <c:pt idx="37">
                  <c:v>1.2126</c:v>
                </c:pt>
                <c:pt idx="38">
                  <c:v>1.2064</c:v>
                </c:pt>
                <c:pt idx="39">
                  <c:v>1.207</c:v>
                </c:pt>
                <c:pt idx="40">
                  <c:v>1.2032</c:v>
                </c:pt>
                <c:pt idx="41">
                  <c:v>1.2072</c:v>
                </c:pt>
                <c:pt idx="42">
                  <c:v>1.2089</c:v>
                </c:pt>
                <c:pt idx="43">
                  <c:v>1.2125</c:v>
                </c:pt>
                <c:pt idx="44">
                  <c:v>1.2071</c:v>
                </c:pt>
                <c:pt idx="45">
                  <c:v>1.212</c:v>
                </c:pt>
                <c:pt idx="46">
                  <c:v>1.2119</c:v>
                </c:pt>
                <c:pt idx="47">
                  <c:v>1.2097</c:v>
                </c:pt>
                <c:pt idx="48">
                  <c:v>1.2084</c:v>
                </c:pt>
                <c:pt idx="49">
                  <c:v>1.2106</c:v>
                </c:pt>
                <c:pt idx="50">
                  <c:v>1.2096</c:v>
                </c:pt>
                <c:pt idx="51">
                  <c:v>1.2092</c:v>
                </c:pt>
                <c:pt idx="52">
                  <c:v>1.605859880407381</c:v>
                </c:pt>
                <c:pt idx="53">
                  <c:v>2.573743809826304</c:v>
                </c:pt>
                <c:pt idx="54">
                  <c:v>1.1482885020994122</c:v>
                </c:pt>
              </c:numCache>
            </c:numRef>
          </c:xVal>
          <c:yVal>
            <c:numRef>
              <c:f>Sheet1!$B$126:$B$180</c:f>
              <c:numCache>
                <c:formatCode>General</c:formatCode>
                <c:ptCount val="55"/>
                <c:pt idx="0">
                  <c:v>0.6812647201873422</c:v>
                </c:pt>
                <c:pt idx="1">
                  <c:v>0.6824009546625477</c:v>
                </c:pt>
                <c:pt idx="2">
                  <c:v>0.6820513440547922</c:v>
                </c:pt>
                <c:pt idx="3">
                  <c:v>0.6819639414028532</c:v>
                </c:pt>
                <c:pt idx="4">
                  <c:v>0.6830373552219777</c:v>
                </c:pt>
                <c:pt idx="5">
                  <c:v>0.6820021800630766</c:v>
                </c:pt>
                <c:pt idx="6">
                  <c:v>0.6821769853669543</c:v>
                </c:pt>
                <c:pt idx="7">
                  <c:v>0.6823217460092281</c:v>
                </c:pt>
                <c:pt idx="8">
                  <c:v>0.6822452686887815</c:v>
                </c:pt>
                <c:pt idx="9">
                  <c:v>0.6822616566860201</c:v>
                </c:pt>
                <c:pt idx="10">
                  <c:v>0.6822398060230354</c:v>
                </c:pt>
                <c:pt idx="11">
                  <c:v>0.6822807760161317</c:v>
                </c:pt>
                <c:pt idx="12">
                  <c:v>0.6821332840409848</c:v>
                </c:pt>
                <c:pt idx="13">
                  <c:v>0.6820131053945688</c:v>
                </c:pt>
                <c:pt idx="14">
                  <c:v>0.6821469407053503</c:v>
                </c:pt>
                <c:pt idx="15">
                  <c:v>0.6821605973697158</c:v>
                </c:pt>
                <c:pt idx="16">
                  <c:v>0.682138746706731</c:v>
                </c:pt>
                <c:pt idx="17">
                  <c:v>0.6822725820175124</c:v>
                </c:pt>
                <c:pt idx="18">
                  <c:v>0.6822124926943045</c:v>
                </c:pt>
                <c:pt idx="19">
                  <c:v>0.6822015673628121</c:v>
                </c:pt>
                <c:pt idx="20">
                  <c:v>0.6822643880188932</c:v>
                </c:pt>
                <c:pt idx="21">
                  <c:v>0.6822780446832586</c:v>
                </c:pt>
                <c:pt idx="22">
                  <c:v>0.6816798827840519</c:v>
                </c:pt>
                <c:pt idx="23">
                  <c:v>0.6818137180948333</c:v>
                </c:pt>
                <c:pt idx="24">
                  <c:v>0.6818383000906911</c:v>
                </c:pt>
                <c:pt idx="25">
                  <c:v>0.6820021800630766</c:v>
                </c:pt>
                <c:pt idx="26">
                  <c:v>0.6795303238129299</c:v>
                </c:pt>
                <c:pt idx="27">
                  <c:v>0.679623189130615</c:v>
                </c:pt>
                <c:pt idx="28">
                  <c:v>0.679746099109904</c:v>
                </c:pt>
                <c:pt idx="29">
                  <c:v>0.6798389644275891</c:v>
                </c:pt>
                <c:pt idx="30">
                  <c:v>0.6799017850836702</c:v>
                </c:pt>
                <c:pt idx="31">
                  <c:v>0.6798389644275891</c:v>
                </c:pt>
                <c:pt idx="32">
                  <c:v>0.6799482177425127</c:v>
                </c:pt>
                <c:pt idx="33">
                  <c:v>0.6798307704289699</c:v>
                </c:pt>
                <c:pt idx="34">
                  <c:v>0.6799290984124011</c:v>
                </c:pt>
                <c:pt idx="35">
                  <c:v>0.6798007257673658</c:v>
                </c:pt>
                <c:pt idx="36">
                  <c:v>0.6797515617756502</c:v>
                </c:pt>
                <c:pt idx="37">
                  <c:v>0.6798635464234469</c:v>
                </c:pt>
                <c:pt idx="38">
                  <c:v>0.6796942037853153</c:v>
                </c:pt>
                <c:pt idx="39">
                  <c:v>0.6797105917825539</c:v>
                </c:pt>
                <c:pt idx="40">
                  <c:v>0.6796068011333765</c:v>
                </c:pt>
                <c:pt idx="41">
                  <c:v>0.6797160544483001</c:v>
                </c:pt>
                <c:pt idx="42">
                  <c:v>0.6797624871071426</c:v>
                </c:pt>
                <c:pt idx="43">
                  <c:v>0.6798608150905738</c:v>
                </c:pt>
                <c:pt idx="44">
                  <c:v>0.679713323115427</c:v>
                </c:pt>
                <c:pt idx="45">
                  <c:v>0.6798471584262084</c:v>
                </c:pt>
                <c:pt idx="46">
                  <c:v>0.6798444270933353</c:v>
                </c:pt>
                <c:pt idx="47">
                  <c:v>0.6797843377701274</c:v>
                </c:pt>
                <c:pt idx="48">
                  <c:v>0.6797488304427771</c:v>
                </c:pt>
                <c:pt idx="49">
                  <c:v>0.6798089197659851</c:v>
                </c:pt>
                <c:pt idx="50">
                  <c:v>0.6797816064372543</c:v>
                </c:pt>
                <c:pt idx="51">
                  <c:v>0.6797706811057619</c:v>
                </c:pt>
                <c:pt idx="52">
                  <c:v>0.6906047828136888</c:v>
                </c:pt>
                <c:pt idx="53">
                  <c:v>0.7170409147512645</c:v>
                </c:pt>
                <c:pt idx="54">
                  <c:v>0.6781069853401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947805631946181"/>
          <c:min val="0.486526428030267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1.8130695015186709</c:v>
                </c:pt>
                <c:pt idx="1">
                  <c:v>1.68527782740754</c:v>
                </c:pt>
                <c:pt idx="2">
                  <c:v>1.4865552974807934</c:v>
                </c:pt>
                <c:pt idx="3">
                  <c:v>1.4862426299803466</c:v>
                </c:pt>
                <c:pt idx="4">
                  <c:v>1.486376630337681</c:v>
                </c:pt>
                <c:pt idx="5">
                  <c:v>1.4864659639092372</c:v>
                </c:pt>
                <c:pt idx="6">
                  <c:v>1.5374307664820441</c:v>
                </c:pt>
                <c:pt idx="7">
                  <c:v>1.675004466678578</c:v>
                </c:pt>
                <c:pt idx="8">
                  <c:v>1.6852331606217616</c:v>
                </c:pt>
                <c:pt idx="9">
                  <c:v>1.6851438270502055</c:v>
                </c:pt>
                <c:pt idx="10">
                  <c:v>1.6851884938359838</c:v>
                </c:pt>
                <c:pt idx="11">
                  <c:v>1.68527782740754</c:v>
                </c:pt>
                <c:pt idx="12">
                  <c:v>1.6850991602644276</c:v>
                </c:pt>
                <c:pt idx="13">
                  <c:v>1.6854564945506523</c:v>
                </c:pt>
                <c:pt idx="14">
                  <c:v>1.6851438270502055</c:v>
                </c:pt>
                <c:pt idx="15">
                  <c:v>1.6851438270502055</c:v>
                </c:pt>
                <c:pt idx="16">
                  <c:v>1.686305163480436</c:v>
                </c:pt>
                <c:pt idx="17">
                  <c:v>1.6876451670537789</c:v>
                </c:pt>
              </c:numCache>
            </c:numRef>
          </c:xVal>
          <c:yVal>
            <c:numRef>
              <c:f>Sheet1!$B$2:$B$19</c:f>
              <c:numCache>
                <c:formatCode>General</c:formatCode>
                <c:ptCount val="18"/>
                <c:pt idx="0">
                  <c:v>0.09306057335898278</c:v>
                </c:pt>
                <c:pt idx="1">
                  <c:v>0.02200884471026773</c:v>
                </c:pt>
                <c:pt idx="2">
                  <c:v>0.0023541753571531825</c:v>
                </c:pt>
                <c:pt idx="3">
                  <c:v>0.015630826846936913</c:v>
                </c:pt>
                <c:pt idx="4">
                  <c:v>0.01930369256393464</c:v>
                </c:pt>
                <c:pt idx="5">
                  <c:v>0.008467920187813577</c:v>
                </c:pt>
                <c:pt idx="6">
                  <c:v>0.01155486999902725</c:v>
                </c:pt>
                <c:pt idx="7">
                  <c:v>0.009177187752189253</c:v>
                </c:pt>
                <c:pt idx="8">
                  <c:v>0.006015092815305804</c:v>
                </c:pt>
                <c:pt idx="9">
                  <c:v>0.006921329112694929</c:v>
                </c:pt>
                <c:pt idx="10">
                  <c:v>0.007883440810777603</c:v>
                </c:pt>
                <c:pt idx="11">
                  <c:v>0.011566929133858268</c:v>
                </c:pt>
                <c:pt idx="12">
                  <c:v>0.008937516954516684</c:v>
                </c:pt>
                <c:pt idx="13">
                  <c:v>0.009905030584498827</c:v>
                </c:pt>
                <c:pt idx="14">
                  <c:v>0.00824181894513556</c:v>
                </c:pt>
                <c:pt idx="15">
                  <c:v>0.00835196703718725</c:v>
                </c:pt>
                <c:pt idx="16">
                  <c:v>0.004373248178544327</c:v>
                </c:pt>
                <c:pt idx="17">
                  <c:v>0.00216124052441188</c:v>
                </c:pt>
              </c:numCache>
            </c:numRef>
          </c:yVal>
          <c:smooth val="0"/>
          <c:extLst>
            <c:ext xmlns:c16="http://schemas.microsoft.com/office/drawing/2014/chart" uri="{C3380CC4-5D6E-409C-BE32-E72D297353CC}">
              <c16:uniqueId val="{00000000-096C-4121-9522-6AB7243CCAAE}"/>
            </c:ext>
          </c:extLst>
        </c:ser>
        <c:ser>
          <c:idx val="1"/>
          <c:order val="1"/>
          <c:tx>
            <c:strRef>
              <c:f>Sheet1!$B$2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096C-4121-9522-6AB7243CCAAE}"/>
            </c:ext>
          </c:extLst>
        </c:ser>
        <c:ser>
          <c:idx val="2"/>
          <c:order val="2"/>
          <c:tx>
            <c:strRef>
              <c:f>Sheet1!$B$23</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24:$A$25</c:f>
              <c:numCache>
                <c:formatCode>General</c:formatCode>
                <c:ptCount val="2"/>
                <c:pt idx="0">
                  <c:v>0</c:v>
                </c:pt>
                <c:pt idx="1">
                  <c:v>0.03326360506833515</c:v>
                </c:pt>
              </c:numCache>
            </c:numRef>
          </c:xVal>
          <c:yVal>
            <c:numRef>
              <c:f>Sheet1!$B$24:$B$25</c:f>
              <c:numCache>
                <c:formatCode>General</c:formatCode>
                <c:ptCount val="2"/>
                <c:pt idx="0">
                  <c:v>0.03326360506833515</c:v>
                </c:pt>
                <c:pt idx="1">
                  <c:v>0.03326360506833515</c:v>
                </c:pt>
              </c:numCache>
            </c:numRef>
          </c:yVal>
          <c:smooth val="0"/>
          <c:extLst>
            <c:ext xmlns:c16="http://schemas.microsoft.com/office/drawing/2014/chart" uri="{C3380CC4-5D6E-409C-BE32-E72D297353CC}">
              <c16:uniqueId val="{00000005-096C-4121-9522-6AB7243CCAAE}"/>
            </c:ext>
          </c:extLst>
        </c:ser>
        <c:ser>
          <c:idx val="3"/>
          <c:order val="3"/>
          <c:tx>
            <c:strRef>
              <c:f>Sheet1!$B$27</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8:$A$29</c:f>
              <c:numCache>
                <c:formatCode>General</c:formatCode>
                <c:ptCount val="2"/>
                <c:pt idx="0">
                  <c:v>0.03326360506833515</c:v>
                </c:pt>
                <c:pt idx="1">
                  <c:v>0.03326360506833515</c:v>
                </c:pt>
              </c:numCache>
            </c:numRef>
          </c:xVal>
          <c:yVal>
            <c:numRef>
              <c:f>Sheet1!$B$28:$B$29</c:f>
              <c:numCache>
                <c:formatCode>General</c:formatCode>
                <c:ptCount val="2"/>
                <c:pt idx="0">
                  <c:v>0.0332636050683351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31</c:f>
              <c:strCache>
                <c:ptCount val="1"/>
                <c:pt idx="0">
                  <c:v>Y_Hat</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32:$A$34</c:f>
              <c:numCache>
                <c:formatCode>General</c:formatCode>
                <c:ptCount val="3"/>
                <c:pt idx="0">
                  <c:v>0</c:v>
                </c:pt>
                <c:pt idx="1">
                  <c:v>0.03326360506833515</c:v>
                </c:pt>
                <c:pt idx="2">
                  <c:v>0</c:v>
                </c:pt>
              </c:numCache>
            </c:numRef>
          </c:xVal>
          <c:yVal>
            <c:numRef>
              <c:f>Sheet1!$B$32:$B$34</c:f>
              <c:numCache>
                <c:formatCode>General</c:formatCode>
                <c:ptCount val="3"/>
                <c:pt idx="0">
                  <c:v>0</c:v>
                </c:pt>
                <c:pt idx="1">
                  <c:v>0.03326360506833515</c:v>
                </c:pt>
                <c:pt idx="2">
                  <c:v>0</c:v>
                </c:pt>
              </c:numCache>
            </c:numRef>
          </c:yVal>
          <c:smooth val="0"/>
          <c:extLst>
            <c:ext xmlns:c16="http://schemas.microsoft.com/office/drawing/2014/chart" uri="{C3380CC4-5D6E-409C-BE32-E72D297353CC}">
              <c16:uniqueId val="{0000000D-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167268803077933"/>
          <c:min val="0.00172899241952950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9</c:f>
              <c:numCache>
                <c:formatCode>General</c:formatCode>
                <c:ptCount val="18"/>
                <c:pt idx="0">
                  <c:v>4.0591</c:v>
                </c:pt>
                <c:pt idx="1">
                  <c:v>3.773</c:v>
                </c:pt>
                <c:pt idx="2">
                  <c:v>3.3281</c:v>
                </c:pt>
                <c:pt idx="3">
                  <c:v>3.3274</c:v>
                </c:pt>
                <c:pt idx="4">
                  <c:v>3.3277</c:v>
                </c:pt>
                <c:pt idx="5">
                  <c:v>3.3279</c:v>
                </c:pt>
                <c:pt idx="6">
                  <c:v>3.442</c:v>
                </c:pt>
                <c:pt idx="7">
                  <c:v>3.75</c:v>
                </c:pt>
                <c:pt idx="8">
                  <c:v>3.7729</c:v>
                </c:pt>
                <c:pt idx="9">
                  <c:v>3.7727</c:v>
                </c:pt>
                <c:pt idx="10">
                  <c:v>3.7728</c:v>
                </c:pt>
                <c:pt idx="11">
                  <c:v>3.773</c:v>
                </c:pt>
                <c:pt idx="12">
                  <c:v>3.7726</c:v>
                </c:pt>
                <c:pt idx="13">
                  <c:v>3.7734</c:v>
                </c:pt>
                <c:pt idx="14">
                  <c:v>3.7727</c:v>
                </c:pt>
                <c:pt idx="15">
                  <c:v>3.7727</c:v>
                </c:pt>
                <c:pt idx="16">
                  <c:v>3.7753</c:v>
                </c:pt>
                <c:pt idx="17">
                  <c:v>3.7783</c:v>
                </c:pt>
              </c:numCache>
            </c:numRef>
          </c:xVal>
          <c:yVal>
            <c:numRef>
              <c:f>Sheet1!$B$2:$B$19</c:f>
              <c:numCache>
                <c:formatCode>General</c:formatCode>
                <c:ptCount val="18"/>
                <c:pt idx="0">
                  <c:v>0.09306057335898278</c:v>
                </c:pt>
                <c:pt idx="1">
                  <c:v>0.02200884471026773</c:v>
                </c:pt>
                <c:pt idx="2">
                  <c:v>0.0023541753571531825</c:v>
                </c:pt>
                <c:pt idx="3">
                  <c:v>0.015630826846936913</c:v>
                </c:pt>
                <c:pt idx="4">
                  <c:v>0.01930369256393464</c:v>
                </c:pt>
                <c:pt idx="5">
                  <c:v>0.008467920187813577</c:v>
                </c:pt>
                <c:pt idx="6">
                  <c:v>0.01155486999902725</c:v>
                </c:pt>
                <c:pt idx="7">
                  <c:v>0.009177187752189253</c:v>
                </c:pt>
                <c:pt idx="8">
                  <c:v>0.006015092815305804</c:v>
                </c:pt>
                <c:pt idx="9">
                  <c:v>0.006921329112694929</c:v>
                </c:pt>
                <c:pt idx="10">
                  <c:v>0.007883440810777603</c:v>
                </c:pt>
                <c:pt idx="11">
                  <c:v>0.011566929133858268</c:v>
                </c:pt>
                <c:pt idx="12">
                  <c:v>0.008937516954516684</c:v>
                </c:pt>
                <c:pt idx="13">
                  <c:v>0.009905030584498827</c:v>
                </c:pt>
                <c:pt idx="14">
                  <c:v>0.00824181894513556</c:v>
                </c:pt>
                <c:pt idx="15">
                  <c:v>0.00835196703718725</c:v>
                </c:pt>
                <c:pt idx="16">
                  <c:v>0.004373248178544327</c:v>
                </c:pt>
                <c:pt idx="17">
                  <c:v>0.00216124052441188</c:v>
                </c:pt>
              </c:numCache>
            </c:numRef>
          </c:yVal>
          <c:smooth val="0"/>
          <c:extLst>
            <c:ext xmlns:c16="http://schemas.microsoft.com/office/drawing/2014/chart" uri="{C3380CC4-5D6E-409C-BE32-E72D297353CC}">
              <c16:uniqueId val="{00000000-F32D-48B7-BC20-E66FC6253BAD}"/>
            </c:ext>
          </c:extLst>
        </c:ser>
        <c:ser>
          <c:idx val="1"/>
          <c:order val="1"/>
          <c:tx>
            <c:strRef>
              <c:f>Sheet1!$B$2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2:$A$21</c:f>
              <c:numCache>
                <c:formatCode>General</c:formatCode>
                <c:ptCount val="0"/>
              </c:numCache>
            </c:numRef>
          </c:xVal>
          <c:yVal>
            <c:numRef>
              <c:f>Sheet1!$B$22:$B$21</c:f>
              <c:numCache>
                <c:formatCode>General</c:formatCode>
                <c:ptCount val="0"/>
              </c:numCache>
            </c:numRef>
          </c:yVal>
          <c:smooth val="0"/>
          <c:extLst>
            <c:ext xmlns:c16="http://schemas.microsoft.com/office/drawing/2014/chart" uri="{C3380CC4-5D6E-409C-BE32-E72D297353CC}">
              <c16:uniqueId val="{00000002-F32D-48B7-BC20-E66FC6253BAD}"/>
            </c:ext>
          </c:extLst>
        </c:ser>
        <c:ser>
          <c:idx val="2"/>
          <c:order val="2"/>
          <c:tx>
            <c:strRef>
              <c:f>Sheet1!$B$23</c:f>
              <c:strCache>
                <c:ptCount val="1"/>
                <c:pt idx="0">
                  <c:v>Custom Linep3yQ</c:v>
                </c:pt>
              </c:strCache>
            </c:strRef>
          </c:tx>
          <c:spPr>
            <a:ln w="19050" cap="rnd">
              <a:solidFill>
                <a:srgbClr val="C00000"/>
              </a:solidFill>
              <a:prstDash val="sysDot"/>
              <a:round/>
            </a:ln>
            <a:effectLst/>
          </c:spPr>
          <c:marker>
            <c:symbol val="none"/>
          </c:marker>
          <c:xVal>
            <c:numRef>
              <c:f>Sheet1!$A$24:$A$25</c:f>
              <c:numCache>
                <c:formatCode>General</c:formatCode>
                <c:ptCount val="2"/>
                <c:pt idx="0">
                  <c:v>0</c:v>
                </c:pt>
                <c:pt idx="1">
                  <c:v>0.03326360506833515</c:v>
                </c:pt>
              </c:numCache>
            </c:numRef>
          </c:xVal>
          <c:yVal>
            <c:numRef>
              <c:f>Sheet1!$B$24:$B$25</c:f>
              <c:numCache>
                <c:formatCode>General</c:formatCode>
                <c:ptCount val="2"/>
                <c:pt idx="0">
                  <c:v>0.03326360506833515</c:v>
                </c:pt>
                <c:pt idx="1">
                  <c:v>0.03326360506833515</c:v>
                </c:pt>
              </c:numCache>
            </c:numRef>
          </c:yVal>
          <c:smooth val="0"/>
          <c:extLst>
            <c:ext xmlns:c16="http://schemas.microsoft.com/office/drawing/2014/chart" uri="{C3380CC4-5D6E-409C-BE32-E72D297353CC}">
              <c16:uniqueId val="{00000003-F32D-48B7-BC20-E66FC6253BAD}"/>
            </c:ext>
          </c:extLst>
        </c:ser>
        <c:ser>
          <c:idx val="3"/>
          <c:order val="3"/>
          <c:tx>
            <c:strRef>
              <c:f>Sheet1!$B$27</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8:$A$29</c:f>
              <c:numCache>
                <c:formatCode>General</c:formatCode>
                <c:ptCount val="2"/>
                <c:pt idx="0">
                  <c:v>0.03326360506833515</c:v>
                </c:pt>
                <c:pt idx="1">
                  <c:v>0.03326360506833515</c:v>
                </c:pt>
              </c:numCache>
            </c:numRef>
          </c:xVal>
          <c:yVal>
            <c:numRef>
              <c:f>Sheet1!$B$28:$B$29</c:f>
              <c:numCache>
                <c:formatCode>General</c:formatCode>
                <c:ptCount val="2"/>
                <c:pt idx="0">
                  <c:v>0.0332636050683351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31</c:f>
              <c:strCache>
                <c:ptCount val="1"/>
                <c:pt idx="0">
                  <c:v>Y_Hat</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32:$A$34</c:f>
              <c:numCache>
                <c:formatCode>General</c:formatCode>
                <c:ptCount val="3"/>
                <c:pt idx="0">
                  <c:v>0</c:v>
                </c:pt>
                <c:pt idx="1">
                  <c:v>0.03326360506833515</c:v>
                </c:pt>
                <c:pt idx="2">
                  <c:v>0</c:v>
                </c:pt>
              </c:numCache>
            </c:numRef>
          </c:xVal>
          <c:yVal>
            <c:numRef>
              <c:f>Sheet1!$B$32:$B$34</c:f>
              <c:numCache>
                <c:formatCode>General</c:formatCode>
                <c:ptCount val="3"/>
                <c:pt idx="0">
                  <c:v>0</c:v>
                </c:pt>
                <c:pt idx="1">
                  <c:v>0.03326360506833515</c:v>
                </c:pt>
                <c:pt idx="2">
                  <c:v>0</c:v>
                </c:pt>
              </c:numCache>
            </c:numRef>
          </c:yVal>
          <c:smooth val="0"/>
          <c:extLst>
            <c:ext xmlns:c16="http://schemas.microsoft.com/office/drawing/2014/chart" uri="{C3380CC4-5D6E-409C-BE32-E72D297353CC}">
              <c16:uniqueId val="{0000000A-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1167268803077933"/>
          <c:min val="0.00172899241952950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5227856475716065</c:v>
                </c:pt>
                <c:pt idx="1">
                  <c:v>0.5227754752592765</c:v>
                </c:pt>
                <c:pt idx="2">
                  <c:v>0.5227967074665785</c:v>
                </c:pt>
                <c:pt idx="3">
                  <c:v>0.5227847608670272</c:v>
                </c:pt>
                <c:pt idx="4">
                  <c:v>0.5228568648438261</c:v>
                </c:pt>
                <c:pt idx="5">
                  <c:v>0.5227653033428027</c:v>
                </c:pt>
                <c:pt idx="6">
                  <c:v>0.5228772161999105</c:v>
                </c:pt>
                <c:pt idx="7">
                  <c:v>0.5228254524226502</c:v>
                </c:pt>
                <c:pt idx="8">
                  <c:v>0.5228670403238362</c:v>
                </c:pt>
                <c:pt idx="9">
                  <c:v>0.5228051058530511</c:v>
                </c:pt>
                <c:pt idx="10">
                  <c:v>0.5228059933839269</c:v>
                </c:pt>
                <c:pt idx="11">
                  <c:v>0.5227551318221617</c:v>
                </c:pt>
                <c:pt idx="12">
                  <c:v>0.5228152789398922</c:v>
                </c:pt>
                <c:pt idx="13">
                  <c:v>0.5228577545102465</c:v>
                </c:pt>
                <c:pt idx="14">
                  <c:v>0.5227051636250437</c:v>
                </c:pt>
                <c:pt idx="15">
                  <c:v>0.5228365150719053</c:v>
                </c:pt>
                <c:pt idx="16">
                  <c:v>0.5228670403238362</c:v>
                </c:pt>
                <c:pt idx="17">
                  <c:v>0.5228356263013485</c:v>
                </c:pt>
                <c:pt idx="18">
                  <c:v>0.5228661503133148</c:v>
                </c:pt>
                <c:pt idx="19">
                  <c:v>0.5227754752592765</c:v>
                </c:pt>
                <c:pt idx="20">
                  <c:v>0.5228466897598567</c:v>
                </c:pt>
                <c:pt idx="21">
                  <c:v>0.522734789968286</c:v>
                </c:pt>
                <c:pt idx="22">
                  <c:v>0.5228263407799487</c:v>
                </c:pt>
                <c:pt idx="23">
                  <c:v>0.5227958202798155</c:v>
                </c:pt>
                <c:pt idx="24">
                  <c:v>0.5227856475716065</c:v>
                </c:pt>
                <c:pt idx="25">
                  <c:v>0.5227551318221617</c:v>
                </c:pt>
                <c:pt idx="26">
                  <c:v>0.5228263407799487</c:v>
                </c:pt>
                <c:pt idx="27">
                  <c:v>0.5228059933839269</c:v>
                </c:pt>
                <c:pt idx="28">
                  <c:v>0.5228568648438261</c:v>
                </c:pt>
                <c:pt idx="29">
                  <c:v>0.5228966778895744</c:v>
                </c:pt>
                <c:pt idx="30">
                  <c:v>0.5228161668839636</c:v>
                </c:pt>
                <c:pt idx="31">
                  <c:v>0.5227449606973306</c:v>
                </c:pt>
                <c:pt idx="32">
                  <c:v>0.5228466897598567</c:v>
                </c:pt>
                <c:pt idx="33">
                  <c:v>0.5228670403238362</c:v>
                </c:pt>
                <c:pt idx="34">
                  <c:v>0.5228559752466577</c:v>
                </c:pt>
                <c:pt idx="35">
                  <c:v>0.5228466897598567</c:v>
                </c:pt>
                <c:pt idx="36">
                  <c:v>0.5228475790129223</c:v>
                </c:pt>
                <c:pt idx="37">
                  <c:v>0.5228772161999105</c:v>
                </c:pt>
                <c:pt idx="38">
                  <c:v>0.5228763257760047</c:v>
                </c:pt>
                <c:pt idx="39">
                  <c:v>0.5227653033428027</c:v>
                </c:pt>
                <c:pt idx="40">
                  <c:v>0.5228365150719053</c:v>
                </c:pt>
                <c:pt idx="41">
                  <c:v>0.5227246196350053</c:v>
                </c:pt>
                <c:pt idx="42">
                  <c:v>0.5228161668839636</c:v>
                </c:pt>
                <c:pt idx="43">
                  <c:v>0.5227745889677984</c:v>
                </c:pt>
              </c:numCache>
            </c:numRef>
          </c:xVal>
          <c:yVal>
            <c:numRef>
              <c:f>Sheet1!$B$2:$B$45</c:f>
              <c:numCache>
                <c:formatCode>General</c:formatCode>
                <c:ptCount val="44"/>
                <c:pt idx="0">
                  <c:v>0.7181559646759467</c:v>
                </c:pt>
                <c:pt idx="1">
                  <c:v>0.7240837835679876</c:v>
                </c:pt>
                <c:pt idx="2">
                  <c:v>0.770692494899088</c:v>
                </c:pt>
                <c:pt idx="3">
                  <c:v>0.7197641874590603</c:v>
                </c:pt>
                <c:pt idx="4">
                  <c:v>0.7546499530564085</c:v>
                </c:pt>
                <c:pt idx="5">
                  <c:v>0.7565416709591016</c:v>
                </c:pt>
                <c:pt idx="6">
                  <c:v>0.7435408061529697</c:v>
                </c:pt>
                <c:pt idx="7">
                  <c:v>0.7110051089563132</c:v>
                </c:pt>
                <c:pt idx="8">
                  <c:v>0.7246480213089802</c:v>
                </c:pt>
                <c:pt idx="9">
                  <c:v>0.7072067070123813</c:v>
                </c:pt>
                <c:pt idx="10">
                  <c:v>0.7122765472030497</c:v>
                </c:pt>
                <c:pt idx="11">
                  <c:v>0.7179212817027676</c:v>
                </c:pt>
                <c:pt idx="12">
                  <c:v>0.7281744929146985</c:v>
                </c:pt>
                <c:pt idx="13">
                  <c:v>0.7474097554052136</c:v>
                </c:pt>
                <c:pt idx="14">
                  <c:v>0.7401165396683101</c:v>
                </c:pt>
                <c:pt idx="15">
                  <c:v>0.7371900826446282</c:v>
                </c:pt>
                <c:pt idx="16">
                  <c:v>0.6968920668881257</c:v>
                </c:pt>
                <c:pt idx="17">
                  <c:v>0.7420756422593532</c:v>
                </c:pt>
                <c:pt idx="18">
                  <c:v>0.7619813263377619</c:v>
                </c:pt>
                <c:pt idx="19">
                  <c:v>0.7392484016840792</c:v>
                </c:pt>
                <c:pt idx="20">
                  <c:v>0.7798173600221382</c:v>
                </c:pt>
                <c:pt idx="21">
                  <c:v>0.7472183239775461</c:v>
                </c:pt>
                <c:pt idx="22">
                  <c:v>0.7361861354940356</c:v>
                </c:pt>
                <c:pt idx="23">
                  <c:v>0.7737013543631065</c:v>
                </c:pt>
                <c:pt idx="24">
                  <c:v>0.7743241764255226</c:v>
                </c:pt>
                <c:pt idx="25">
                  <c:v>0.7314823412882657</c:v>
                </c:pt>
                <c:pt idx="26">
                  <c:v>0.7360596506570317</c:v>
                </c:pt>
                <c:pt idx="27">
                  <c:v>0.6843659797274619</c:v>
                </c:pt>
                <c:pt idx="28">
                  <c:v>0.7197692186100427</c:v>
                </c:pt>
                <c:pt idx="29">
                  <c:v>0.7058493914017994</c:v>
                </c:pt>
                <c:pt idx="30">
                  <c:v>0.725185903653411</c:v>
                </c:pt>
                <c:pt idx="31">
                  <c:v>0.7305941023417173</c:v>
                </c:pt>
                <c:pt idx="32">
                  <c:v>0.7413191649224494</c:v>
                </c:pt>
                <c:pt idx="33">
                  <c:v>0.6548130943787075</c:v>
                </c:pt>
                <c:pt idx="34">
                  <c:v>0.7243389864881994</c:v>
                </c:pt>
                <c:pt idx="35">
                  <c:v>0.7252943095961244</c:v>
                </c:pt>
                <c:pt idx="36">
                  <c:v>0.7504909693828273</c:v>
                </c:pt>
                <c:pt idx="37">
                  <c:v>0.7197731509438916</c:v>
                </c:pt>
                <c:pt idx="38">
                  <c:v>0.7272605168430667</c:v>
                </c:pt>
                <c:pt idx="39">
                  <c:v>0.7475074775672981</c:v>
                </c:pt>
                <c:pt idx="40">
                  <c:v>0.7380187963341311</c:v>
                </c:pt>
                <c:pt idx="41">
                  <c:v>0.7539144857054507</c:v>
                </c:pt>
                <c:pt idx="42">
                  <c:v>0.7616389069817934</c:v>
                </c:pt>
                <c:pt idx="43">
                  <c:v>0.7662033739647138</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numCache>
            </c:numRef>
          </c:xVal>
          <c:yVal>
            <c:numRef>
              <c:f>Sheet1!$B$48:$B$99</c:f>
              <c:numCache>
                <c:formatCode>General</c:formatCode>
                <c:ptCount val="52"/>
                <c:pt idx="0">
                  <c:v>0.7804529997571047</c:v>
                </c:pt>
                <c:pt idx="1">
                  <c:v>0.7675140293258166</c:v>
                </c:pt>
                <c:pt idx="2">
                  <c:v>0.7579610349933021</c:v>
                </c:pt>
                <c:pt idx="3">
                  <c:v>0.7186430710008554</c:v>
                </c:pt>
                <c:pt idx="4">
                  <c:v>0.7869671475225469</c:v>
                </c:pt>
                <c:pt idx="5">
                  <c:v>0.7451300710378456</c:v>
                </c:pt>
                <c:pt idx="6">
                  <c:v>0.7489857608782118</c:v>
                </c:pt>
                <c:pt idx="7">
                  <c:v>0.7747246308882119</c:v>
                </c:pt>
                <c:pt idx="8">
                  <c:v>0.727795034682486</c:v>
                </c:pt>
                <c:pt idx="9">
                  <c:v>0.7476189383333716</c:v>
                </c:pt>
                <c:pt idx="10">
                  <c:v>0.7507173601147776</c:v>
                </c:pt>
                <c:pt idx="11">
                  <c:v>0.7511606747077899</c:v>
                </c:pt>
                <c:pt idx="12">
                  <c:v>0.7561152120422637</c:v>
                </c:pt>
                <c:pt idx="13">
                  <c:v>0.7481640424310194</c:v>
                </c:pt>
                <c:pt idx="14">
                  <c:v>0.7202294848848898</c:v>
                </c:pt>
                <c:pt idx="15">
                  <c:v>0.7481779230531383</c:v>
                </c:pt>
                <c:pt idx="16">
                  <c:v>0.7368782237177075</c:v>
                </c:pt>
                <c:pt idx="17">
                  <c:v>0.741120857453424</c:v>
                </c:pt>
                <c:pt idx="18">
                  <c:v>0.7581786651668542</c:v>
                </c:pt>
                <c:pt idx="19">
                  <c:v>0.7383770714753438</c:v>
                </c:pt>
                <c:pt idx="20">
                  <c:v>0.7517236608481103</c:v>
                </c:pt>
                <c:pt idx="21">
                  <c:v>0.7722822246896134</c:v>
                </c:pt>
                <c:pt idx="22">
                  <c:v>0.7193809726855451</c:v>
                </c:pt>
                <c:pt idx="23">
                  <c:v>0.7332094210336505</c:v>
                </c:pt>
                <c:pt idx="24">
                  <c:v>0.7752694436353044</c:v>
                </c:pt>
                <c:pt idx="25">
                  <c:v>0.7752956164432722</c:v>
                </c:pt>
                <c:pt idx="26">
                  <c:v>0.7507450466677583</c:v>
                </c:pt>
                <c:pt idx="27">
                  <c:v>0.744499316037189</c:v>
                </c:pt>
                <c:pt idx="28">
                  <c:v>0.7538755517278501</c:v>
                </c:pt>
                <c:pt idx="29">
                  <c:v>0.7420296909223656</c:v>
                </c:pt>
                <c:pt idx="30">
                  <c:v>0.7782326921098652</c:v>
                </c:pt>
                <c:pt idx="31">
                  <c:v>0.7662631306232041</c:v>
                </c:pt>
                <c:pt idx="32">
                  <c:v>0.7983342643847443</c:v>
                </c:pt>
                <c:pt idx="33">
                  <c:v>0.7539404120756954</c:v>
                </c:pt>
                <c:pt idx="34">
                  <c:v>0.7479789688065005</c:v>
                </c:pt>
                <c:pt idx="35">
                  <c:v>0.7263903790014721</c:v>
                </c:pt>
                <c:pt idx="36">
                  <c:v>0.7515152901351753</c:v>
                </c:pt>
                <c:pt idx="37">
                  <c:v>0.740088400750067</c:v>
                </c:pt>
                <c:pt idx="38">
                  <c:v>0.7382880463967351</c:v>
                </c:pt>
                <c:pt idx="39">
                  <c:v>0.7308872357416046</c:v>
                </c:pt>
                <c:pt idx="40">
                  <c:v>0.7287521753445275</c:v>
                </c:pt>
                <c:pt idx="41">
                  <c:v>0.7317298086528856</c:v>
                </c:pt>
                <c:pt idx="42">
                  <c:v>0.7386889918061987</c:v>
                </c:pt>
                <c:pt idx="43">
                  <c:v>0.7584185613028229</c:v>
                </c:pt>
                <c:pt idx="44">
                  <c:v>0.7516338513247163</c:v>
                </c:pt>
                <c:pt idx="45">
                  <c:v>0.7382210268478939</c:v>
                </c:pt>
                <c:pt idx="46">
                  <c:v>0.7444996286669142</c:v>
                </c:pt>
                <c:pt idx="47">
                  <c:v>0.7392807099486222</c:v>
                </c:pt>
                <c:pt idx="48">
                  <c:v>0.7577430337487191</c:v>
                </c:pt>
                <c:pt idx="49">
                  <c:v>0.7150083821064086</c:v>
                </c:pt>
                <c:pt idx="50">
                  <c:v>0.7931636395775332</c:v>
                </c:pt>
                <c:pt idx="51">
                  <c:v>0.7661110572729916</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5602292736308135</c:v>
                </c:pt>
              </c:numCache>
            </c:numRef>
          </c:xVal>
          <c:yVal>
            <c:numRef>
              <c:f>Sheet1!$B$102:$B$103</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5602292736308135</c:v>
                </c:pt>
                <c:pt idx="1">
                  <c:v>0.5602292736308135</c:v>
                </c:pt>
              </c:numCache>
            </c:numRef>
          </c:xVal>
          <c:yVal>
            <c:numRef>
              <c:f>Sheet1!$B$106:$B$107</c:f>
              <c:numCache>
                <c:formatCode>General</c:formatCode>
                <c:ptCount val="2"/>
                <c:pt idx="0">
                  <c:v>0.75490661271419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5602292736308135</c:v>
                </c:pt>
              </c:numCache>
            </c:numRef>
          </c:xVal>
          <c:yVal>
            <c:numRef>
              <c:f>Sheet1!$B$110:$B$111</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5602292736308135</c:v>
                </c:pt>
                <c:pt idx="1">
                  <c:v>0.5602292736308135</c:v>
                </c:pt>
              </c:numCache>
            </c:numRef>
          </c:xVal>
          <c:yVal>
            <c:numRef>
              <c:f>Sheet1!$B$114:$B$115</c:f>
              <c:numCache>
                <c:formatCode>General</c:formatCode>
                <c:ptCount val="2"/>
                <c:pt idx="0">
                  <c:v>0.75490661271419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45268670646313924</c:v>
                </c:pt>
              </c:numCache>
            </c:numRef>
          </c:xVal>
          <c:yVal>
            <c:numRef>
              <c:f>Sheet1!$B$118:$B$119</c:f>
              <c:numCache>
                <c:formatCode>General</c:formatCode>
                <c:ptCount val="2"/>
                <c:pt idx="0">
                  <c:v>0.7457029309493723</c:v>
                </c:pt>
                <c:pt idx="1">
                  <c:v>0.7457029309493723</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45268670646313924</c:v>
                </c:pt>
                <c:pt idx="1">
                  <c:v>0.45268670646313924</c:v>
                </c:pt>
              </c:numCache>
            </c:numRef>
          </c:xVal>
          <c:yVal>
            <c:numRef>
              <c:f>Sheet1!$B$122:$B$123</c:f>
              <c:numCache>
                <c:formatCode>General</c:formatCode>
                <c:ptCount val="2"/>
                <c:pt idx="0">
                  <c:v>0.745702930949372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5121908505380319</c:v>
                </c:pt>
                <c:pt idx="1">
                  <c:v>0.5278469681637736</c:v>
                </c:pt>
                <c:pt idx="2">
                  <c:v>0.5276421023954543</c:v>
                </c:pt>
                <c:pt idx="3">
                  <c:v>0.5277404791095024</c:v>
                </c:pt>
                <c:pt idx="4">
                  <c:v>0.5278880585396232</c:v>
                </c:pt>
                <c:pt idx="5">
                  <c:v>0.5269578752796965</c:v>
                </c:pt>
                <c:pt idx="6">
                  <c:v>0.5257934577438752</c:v>
                </c:pt>
                <c:pt idx="7">
                  <c:v>0.5284557592743976</c:v>
                </c:pt>
                <c:pt idx="8">
                  <c:v>0.5287193057555356</c:v>
                </c:pt>
                <c:pt idx="9">
                  <c:v>0.527024659880496</c:v>
                </c:pt>
                <c:pt idx="10">
                  <c:v>0.5268810927558227</c:v>
                </c:pt>
                <c:pt idx="11">
                  <c:v>0.5265666647211036</c:v>
                </c:pt>
                <c:pt idx="12">
                  <c:v>0.5289630883583367</c:v>
                </c:pt>
                <c:pt idx="13">
                  <c:v>0.5332905159494755</c:v>
                </c:pt>
                <c:pt idx="14">
                  <c:v>0.5227560173564493</c:v>
                </c:pt>
                <c:pt idx="15">
                  <c:v>0.5295960460772104</c:v>
                </c:pt>
                <c:pt idx="16">
                  <c:v>0.52698153229416</c:v>
                </c:pt>
                <c:pt idx="17">
                  <c:v>0.5248010274572379</c:v>
                </c:pt>
                <c:pt idx="18">
                  <c:v>0.5311010370255073</c:v>
                </c:pt>
                <c:pt idx="19">
                  <c:v>0.524811239978205</c:v>
                </c:pt>
                <c:pt idx="20">
                  <c:v>0.5299966918990445</c:v>
                </c:pt>
                <c:pt idx="21">
                  <c:v>0.5266917073740343</c:v>
                </c:pt>
                <c:pt idx="22">
                  <c:v>0.4780248642969707</c:v>
                </c:pt>
                <c:pt idx="23">
                  <c:v>0.4753492353788085</c:v>
                </c:pt>
                <c:pt idx="24">
                  <c:v>0.4789392789742991</c:v>
                </c:pt>
                <c:pt idx="25">
                  <c:v>0.5187491486504895</c:v>
                </c:pt>
                <c:pt idx="26">
                  <c:v>0.49318960149439606</c:v>
                </c:pt>
                <c:pt idx="27">
                  <c:v>0.49117549765523144</c:v>
                </c:pt>
                <c:pt idx="28">
                  <c:v>0.49464918083823006</c:v>
                </c:pt>
                <c:pt idx="29">
                  <c:v>0.49475548290423654</c:v>
                </c:pt>
                <c:pt idx="30">
                  <c:v>0.49022278431754057</c:v>
                </c:pt>
                <c:pt idx="31">
                  <c:v>0.4930909657078354</c:v>
                </c:pt>
                <c:pt idx="32">
                  <c:v>0.4962353353178078</c:v>
                </c:pt>
                <c:pt idx="33">
                  <c:v>0.48647596808717647</c:v>
                </c:pt>
                <c:pt idx="34">
                  <c:v>0.49719778936716746</c:v>
                </c:pt>
                <c:pt idx="35">
                  <c:v>0.4940066160731659</c:v>
                </c:pt>
                <c:pt idx="36">
                  <c:v>0.48924867189476356</c:v>
                </c:pt>
                <c:pt idx="37">
                  <c:v>0.4931978747007649</c:v>
                </c:pt>
                <c:pt idx="38">
                  <c:v>0.493247450766716</c:v>
                </c:pt>
                <c:pt idx="39">
                  <c:v>0.49314988518273456</c:v>
                </c:pt>
                <c:pt idx="40">
                  <c:v>0.4914861735458384</c:v>
                </c:pt>
                <c:pt idx="41">
                  <c:v>0.4971984435797666</c:v>
                </c:pt>
                <c:pt idx="42">
                  <c:v>0.49580649555352313</c:v>
                </c:pt>
                <c:pt idx="43">
                  <c:v>0.493967697995719</c:v>
                </c:pt>
                <c:pt idx="44">
                  <c:v>0.488635036780446</c:v>
                </c:pt>
                <c:pt idx="45">
                  <c:v>0.49875447610151025</c:v>
                </c:pt>
                <c:pt idx="46">
                  <c:v>0.49374355381711327</c:v>
                </c:pt>
                <c:pt idx="47">
                  <c:v>0.4922852417550345</c:v>
                </c:pt>
                <c:pt idx="48">
                  <c:v>0.4934683150004867</c:v>
                </c:pt>
                <c:pt idx="49">
                  <c:v>0.49269441039708944</c:v>
                </c:pt>
                <c:pt idx="50">
                  <c:v>0.49500904792481465</c:v>
                </c:pt>
                <c:pt idx="51">
                  <c:v>0.4888992664370634</c:v>
                </c:pt>
                <c:pt idx="52">
                  <c:v>0.5602292736308135</c:v>
                </c:pt>
                <c:pt idx="53">
                  <c:v>0.5602292736308135</c:v>
                </c:pt>
                <c:pt idx="54">
                  <c:v>0.45268670646313924</c:v>
                </c:pt>
              </c:numCache>
            </c:numRef>
          </c:xVal>
          <c:yVal>
            <c:numRef>
              <c:f>Sheet1!$B$126:$B$180</c:f>
              <c:numCache>
                <c:formatCode>General</c:formatCode>
                <c:ptCount val="55"/>
                <c:pt idx="0">
                  <c:v>0.7507954001006789</c:v>
                </c:pt>
                <c:pt idx="1">
                  <c:v>0.7521352781424161</c:v>
                </c:pt>
                <c:pt idx="2">
                  <c:v>0.7521177453701774</c:v>
                </c:pt>
                <c:pt idx="3">
                  <c:v>0.7521261646221351</c:v>
                </c:pt>
                <c:pt idx="4">
                  <c:v>0.7521387947289444</c:v>
                </c:pt>
                <c:pt idx="5">
                  <c:v>0.7520591880119689</c:v>
                </c:pt>
                <c:pt idx="6">
                  <c:v>0.7519595351142994</c:v>
                </c:pt>
                <c:pt idx="7">
                  <c:v>0.7521873795548243</c:v>
                </c:pt>
                <c:pt idx="8">
                  <c:v>0.7522099343255213</c:v>
                </c:pt>
                <c:pt idx="9">
                  <c:v>0.7520649035553927</c:v>
                </c:pt>
                <c:pt idx="10">
                  <c:v>0.75205261682873</c:v>
                </c:pt>
                <c:pt idx="11">
                  <c:v>0.7520257075253193</c:v>
                </c:pt>
                <c:pt idx="12">
                  <c:v>0.7522307976688009</c:v>
                </c:pt>
                <c:pt idx="13">
                  <c:v>0.7526011465218934</c:v>
                </c:pt>
                <c:pt idx="14">
                  <c:v>0.7516995856315805</c:v>
                </c:pt>
                <c:pt idx="15">
                  <c:v>0.7522849673019846</c:v>
                </c:pt>
                <c:pt idx="16">
                  <c:v>0.7520612126208133</c:v>
                </c:pt>
                <c:pt idx="17">
                  <c:v>0.7518746011874595</c:v>
                </c:pt>
                <c:pt idx="18">
                  <c:v>0.75241376707041</c:v>
                </c:pt>
                <c:pt idx="19">
                  <c:v>0.7518754751929392</c:v>
                </c:pt>
                <c:pt idx="20">
                  <c:v>0.7523192552750326</c:v>
                </c:pt>
                <c:pt idx="21">
                  <c:v>0.7520364088951573</c:v>
                </c:pt>
                <c:pt idx="22">
                  <c:v>0.7478714149957494</c:v>
                </c:pt>
                <c:pt idx="23">
                  <c:v>0.7476424299739846</c:v>
                </c:pt>
                <c:pt idx="24">
                  <c:v>0.7479496722097332</c:v>
                </c:pt>
                <c:pt idx="25">
                  <c:v>0.7513566707708481</c:v>
                </c:pt>
                <c:pt idx="26">
                  <c:v>0.7491692398374673</c:v>
                </c:pt>
                <c:pt idx="27">
                  <c:v>0.7489968692937357</c:v>
                </c:pt>
                <c:pt idx="28">
                  <c:v>0.7492941532010308</c:v>
                </c:pt>
                <c:pt idx="29">
                  <c:v>0.7493032507185277</c:v>
                </c:pt>
                <c:pt idx="30">
                  <c:v>0.7489153344131377</c:v>
                </c:pt>
                <c:pt idx="31">
                  <c:v>0.7491607984136289</c:v>
                </c:pt>
                <c:pt idx="32">
                  <c:v>0.7494298990870029</c:v>
                </c:pt>
                <c:pt idx="33">
                  <c:v>0.7485946752999719</c:v>
                </c:pt>
                <c:pt idx="34">
                  <c:v>0.749512267594812</c:v>
                </c:pt>
                <c:pt idx="35">
                  <c:v>0.7492391613799622</c:v>
                </c:pt>
                <c:pt idx="36">
                  <c:v>0.748831968161257</c:v>
                </c:pt>
                <c:pt idx="37">
                  <c:v>0.7491699478729977</c:v>
                </c:pt>
                <c:pt idx="38">
                  <c:v>0.7491741906797875</c:v>
                </c:pt>
                <c:pt idx="39">
                  <c:v>0.7491658408457654</c:v>
                </c:pt>
                <c:pt idx="40">
                  <c:v>0.7490234574820639</c:v>
                </c:pt>
                <c:pt idx="41">
                  <c:v>0.7495123235834752</c:v>
                </c:pt>
                <c:pt idx="42">
                  <c:v>0.7493931982268455</c:v>
                </c:pt>
                <c:pt idx="43">
                  <c:v>0.7492358307025462</c:v>
                </c:pt>
                <c:pt idx="44">
                  <c:v>0.7487794521905057</c:v>
                </c:pt>
                <c:pt idx="45">
                  <c:v>0.7496454915793955</c:v>
                </c:pt>
                <c:pt idx="46">
                  <c:v>0.7492166480500984</c:v>
                </c:pt>
                <c:pt idx="47">
                  <c:v>0.7490918431427331</c:v>
                </c:pt>
                <c:pt idx="48">
                  <c:v>0.7491930926287962</c:v>
                </c:pt>
                <c:pt idx="49">
                  <c:v>0.7491268605137036</c:v>
                </c:pt>
                <c:pt idx="50">
                  <c:v>0.7493249512583005</c:v>
                </c:pt>
                <c:pt idx="51">
                  <c:v>0.74880206542856</c:v>
                </c:pt>
                <c:pt idx="52">
                  <c:v>0.7549066127141988</c:v>
                </c:pt>
                <c:pt idx="53">
                  <c:v>0.7549066127141988</c:v>
                </c:pt>
                <c:pt idx="54">
                  <c:v>0.74570293094937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80011172616931"/>
          <c:min val="0.5238504755029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7181559646759467</c:v>
                </c:pt>
                <c:pt idx="1">
                  <c:v>0.7240837835679876</c:v>
                </c:pt>
                <c:pt idx="2">
                  <c:v>0.770692494899088</c:v>
                </c:pt>
                <c:pt idx="3">
                  <c:v>0.7197641874590603</c:v>
                </c:pt>
                <c:pt idx="4">
                  <c:v>0.7546499530564085</c:v>
                </c:pt>
                <c:pt idx="5">
                  <c:v>0.7565416709591016</c:v>
                </c:pt>
                <c:pt idx="6">
                  <c:v>0.7435408061529697</c:v>
                </c:pt>
                <c:pt idx="7">
                  <c:v>0.7110051089563132</c:v>
                </c:pt>
                <c:pt idx="8">
                  <c:v>0.7246480213089802</c:v>
                </c:pt>
                <c:pt idx="9">
                  <c:v>0.7072067070123813</c:v>
                </c:pt>
                <c:pt idx="10">
                  <c:v>0.7122765472030497</c:v>
                </c:pt>
                <c:pt idx="11">
                  <c:v>0.7179212817027676</c:v>
                </c:pt>
                <c:pt idx="12">
                  <c:v>0.7281744929146985</c:v>
                </c:pt>
                <c:pt idx="13">
                  <c:v>0.7474097554052136</c:v>
                </c:pt>
                <c:pt idx="14">
                  <c:v>0.7401165396683101</c:v>
                </c:pt>
                <c:pt idx="15">
                  <c:v>0.7371900826446282</c:v>
                </c:pt>
                <c:pt idx="16">
                  <c:v>0.6968920668881257</c:v>
                </c:pt>
                <c:pt idx="17">
                  <c:v>0.7420756422593532</c:v>
                </c:pt>
                <c:pt idx="18">
                  <c:v>0.7619813263377619</c:v>
                </c:pt>
                <c:pt idx="19">
                  <c:v>0.7392484016840792</c:v>
                </c:pt>
                <c:pt idx="20">
                  <c:v>0.7798173600221382</c:v>
                </c:pt>
                <c:pt idx="21">
                  <c:v>0.7472183239775461</c:v>
                </c:pt>
                <c:pt idx="22">
                  <c:v>0.7361861354940356</c:v>
                </c:pt>
                <c:pt idx="23">
                  <c:v>0.7737013543631065</c:v>
                </c:pt>
                <c:pt idx="24">
                  <c:v>0.7743241764255226</c:v>
                </c:pt>
                <c:pt idx="25">
                  <c:v>0.7314823412882657</c:v>
                </c:pt>
                <c:pt idx="26">
                  <c:v>0.7360596506570317</c:v>
                </c:pt>
                <c:pt idx="27">
                  <c:v>0.6843659797274619</c:v>
                </c:pt>
                <c:pt idx="28">
                  <c:v>0.7197692186100427</c:v>
                </c:pt>
                <c:pt idx="29">
                  <c:v>0.7058493914017994</c:v>
                </c:pt>
                <c:pt idx="30">
                  <c:v>0.725185903653411</c:v>
                </c:pt>
                <c:pt idx="31">
                  <c:v>0.7305941023417173</c:v>
                </c:pt>
                <c:pt idx="32">
                  <c:v>0.7413191649224494</c:v>
                </c:pt>
                <c:pt idx="33">
                  <c:v>0.6548130943787075</c:v>
                </c:pt>
                <c:pt idx="34">
                  <c:v>0.7243389864881994</c:v>
                </c:pt>
                <c:pt idx="35">
                  <c:v>0.7252943095961244</c:v>
                </c:pt>
                <c:pt idx="36">
                  <c:v>0.7504909693828273</c:v>
                </c:pt>
                <c:pt idx="37">
                  <c:v>0.7197731509438916</c:v>
                </c:pt>
                <c:pt idx="38">
                  <c:v>0.7272605168430667</c:v>
                </c:pt>
                <c:pt idx="39">
                  <c:v>0.7475074775672981</c:v>
                </c:pt>
                <c:pt idx="40">
                  <c:v>0.7380187963341311</c:v>
                </c:pt>
                <c:pt idx="41">
                  <c:v>0.7539144857054507</c:v>
                </c:pt>
                <c:pt idx="42">
                  <c:v>0.7616389069817934</c:v>
                </c:pt>
                <c:pt idx="43">
                  <c:v>0.7662033739647138</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7804529997571047</c:v>
                </c:pt>
                <c:pt idx="1">
                  <c:v>0.7675140293258166</c:v>
                </c:pt>
                <c:pt idx="2">
                  <c:v>0.7579610349933021</c:v>
                </c:pt>
                <c:pt idx="3">
                  <c:v>0.7186430710008554</c:v>
                </c:pt>
                <c:pt idx="4">
                  <c:v>0.7869671475225469</c:v>
                </c:pt>
                <c:pt idx="5">
                  <c:v>0.7451300710378456</c:v>
                </c:pt>
                <c:pt idx="6">
                  <c:v>0.7489857608782118</c:v>
                </c:pt>
                <c:pt idx="7">
                  <c:v>0.7747246308882119</c:v>
                </c:pt>
                <c:pt idx="8">
                  <c:v>0.727795034682486</c:v>
                </c:pt>
                <c:pt idx="9">
                  <c:v>0.7476189383333716</c:v>
                </c:pt>
                <c:pt idx="10">
                  <c:v>0.7507173601147776</c:v>
                </c:pt>
                <c:pt idx="11">
                  <c:v>0.7511606747077899</c:v>
                </c:pt>
                <c:pt idx="12">
                  <c:v>0.7561152120422637</c:v>
                </c:pt>
                <c:pt idx="13">
                  <c:v>0.7481640424310194</c:v>
                </c:pt>
                <c:pt idx="14">
                  <c:v>0.7202294848848898</c:v>
                </c:pt>
                <c:pt idx="15">
                  <c:v>0.7481779230531383</c:v>
                </c:pt>
                <c:pt idx="16">
                  <c:v>0.7368782237177075</c:v>
                </c:pt>
                <c:pt idx="17">
                  <c:v>0.741120857453424</c:v>
                </c:pt>
                <c:pt idx="18">
                  <c:v>0.7581786651668542</c:v>
                </c:pt>
                <c:pt idx="19">
                  <c:v>0.7383770714753438</c:v>
                </c:pt>
                <c:pt idx="20">
                  <c:v>0.7517236608481103</c:v>
                </c:pt>
                <c:pt idx="21">
                  <c:v>0.7722822246896134</c:v>
                </c:pt>
                <c:pt idx="22">
                  <c:v>0.7193809726855451</c:v>
                </c:pt>
                <c:pt idx="23">
                  <c:v>0.7332094210336505</c:v>
                </c:pt>
                <c:pt idx="24">
                  <c:v>0.7752694436353044</c:v>
                </c:pt>
                <c:pt idx="25">
                  <c:v>0.7752956164432722</c:v>
                </c:pt>
                <c:pt idx="26">
                  <c:v>0.7507450466677583</c:v>
                </c:pt>
                <c:pt idx="27">
                  <c:v>0.744499316037189</c:v>
                </c:pt>
                <c:pt idx="28">
                  <c:v>0.7538755517278501</c:v>
                </c:pt>
                <c:pt idx="29">
                  <c:v>0.7420296909223656</c:v>
                </c:pt>
                <c:pt idx="30">
                  <c:v>0.7782326921098652</c:v>
                </c:pt>
                <c:pt idx="31">
                  <c:v>0.7662631306232041</c:v>
                </c:pt>
                <c:pt idx="32">
                  <c:v>0.7983342643847443</c:v>
                </c:pt>
                <c:pt idx="33">
                  <c:v>0.7539404120756954</c:v>
                </c:pt>
                <c:pt idx="34">
                  <c:v>0.7479789688065005</c:v>
                </c:pt>
                <c:pt idx="35">
                  <c:v>0.7263903790014721</c:v>
                </c:pt>
                <c:pt idx="36">
                  <c:v>0.7515152901351753</c:v>
                </c:pt>
                <c:pt idx="37">
                  <c:v>0.740088400750067</c:v>
                </c:pt>
                <c:pt idx="38">
                  <c:v>0.7382880463967351</c:v>
                </c:pt>
                <c:pt idx="39">
                  <c:v>0.7308872357416046</c:v>
                </c:pt>
                <c:pt idx="40">
                  <c:v>0.7287521753445275</c:v>
                </c:pt>
                <c:pt idx="41">
                  <c:v>0.7317298086528856</c:v>
                </c:pt>
                <c:pt idx="42">
                  <c:v>0.7386889918061987</c:v>
                </c:pt>
                <c:pt idx="43">
                  <c:v>0.7584185613028229</c:v>
                </c:pt>
                <c:pt idx="44">
                  <c:v>0.7516338513247163</c:v>
                </c:pt>
                <c:pt idx="45">
                  <c:v>0.7382210268478939</c:v>
                </c:pt>
                <c:pt idx="46">
                  <c:v>0.7444996286669142</c:v>
                </c:pt>
                <c:pt idx="47">
                  <c:v>0.7392807099486222</c:v>
                </c:pt>
                <c:pt idx="48">
                  <c:v>0.7577430337487191</c:v>
                </c:pt>
                <c:pt idx="49">
                  <c:v>0.7150083821064086</c:v>
                </c:pt>
                <c:pt idx="50">
                  <c:v>0.7931636395775332</c:v>
                </c:pt>
                <c:pt idx="51">
                  <c:v>0.7661110572729916</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8797234710394934</c:v>
                </c:pt>
              </c:numCache>
            </c:numRef>
          </c:xVal>
          <c:yVal>
            <c:numRef>
              <c:f>Sheet1!$B$102:$B$103</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8797234710394934</c:v>
                </c:pt>
                <c:pt idx="1">
                  <c:v>2.8797234710394934</c:v>
                </c:pt>
              </c:numCache>
            </c:numRef>
          </c:xVal>
          <c:yVal>
            <c:numRef>
              <c:f>Sheet1!$B$106:$B$107</c:f>
              <c:numCache>
                <c:formatCode>General</c:formatCode>
                <c:ptCount val="2"/>
                <c:pt idx="0">
                  <c:v>0.75490661271419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8797234710394934</c:v>
                </c:pt>
              </c:numCache>
            </c:numRef>
          </c:xVal>
          <c:yVal>
            <c:numRef>
              <c:f>Sheet1!$B$110:$B$111</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8797234710394934</c:v>
                </c:pt>
                <c:pt idx="1">
                  <c:v>2.8797234710394934</c:v>
                </c:pt>
              </c:numCache>
            </c:numRef>
          </c:xVal>
          <c:yVal>
            <c:numRef>
              <c:f>Sheet1!$B$114:$B$115</c:f>
              <c:numCache>
                <c:formatCode>General</c:formatCode>
                <c:ptCount val="2"/>
                <c:pt idx="0">
                  <c:v>0.75490661271419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3255992201761995</c:v>
                </c:pt>
              </c:numCache>
            </c:numRef>
          </c:xVal>
          <c:yVal>
            <c:numRef>
              <c:f>Sheet1!$B$118:$B$119</c:f>
              <c:numCache>
                <c:formatCode>General</c:formatCode>
                <c:ptCount val="2"/>
                <c:pt idx="0">
                  <c:v>0.7457029309493723</c:v>
                </c:pt>
                <c:pt idx="1">
                  <c:v>0.7457029309493723</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3255992201761995</c:v>
                </c:pt>
                <c:pt idx="1">
                  <c:v>2.3255992201761995</c:v>
                </c:pt>
              </c:numCache>
            </c:numRef>
          </c:xVal>
          <c:yVal>
            <c:numRef>
              <c:f>Sheet1!$B$122:$B$123</c:f>
              <c:numCache>
                <c:formatCode>General</c:formatCode>
                <c:ptCount val="2"/>
                <c:pt idx="0">
                  <c:v>0.745702930949372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8797234710394934</c:v>
                </c:pt>
                <c:pt idx="53">
                  <c:v>2.8797234710394934</c:v>
                </c:pt>
                <c:pt idx="54">
                  <c:v>2.3255992201761995</c:v>
                </c:pt>
              </c:numCache>
            </c:numRef>
          </c:xVal>
          <c:yVal>
            <c:numRef>
              <c:f>Sheet1!$B$126:$B$180</c:f>
              <c:numCache>
                <c:formatCode>General</c:formatCode>
                <c:ptCount val="55"/>
                <c:pt idx="0">
                  <c:v>0.750795391714173</c:v>
                </c:pt>
                <c:pt idx="1">
                  <c:v>0.752129128045987</c:v>
                </c:pt>
                <c:pt idx="2">
                  <c:v>0.7521125186271599</c:v>
                </c:pt>
                <c:pt idx="3">
                  <c:v>0.7521191623946907</c:v>
                </c:pt>
                <c:pt idx="4">
                  <c:v>0.752129128045987</c:v>
                </c:pt>
                <c:pt idx="5">
                  <c:v>0.7520593684869132</c:v>
                </c:pt>
                <c:pt idx="6">
                  <c:v>0.7519547291483026</c:v>
                </c:pt>
                <c:pt idx="7">
                  <c:v>0.7521723125349373</c:v>
                </c:pt>
                <c:pt idx="8">
                  <c:v>0.7522088532563569</c:v>
                </c:pt>
                <c:pt idx="9">
                  <c:v>0.7520510637774998</c:v>
                </c:pt>
                <c:pt idx="10">
                  <c:v>0.7520510637774998</c:v>
                </c:pt>
                <c:pt idx="11">
                  <c:v>0.7520294715330245</c:v>
                </c:pt>
                <c:pt idx="12">
                  <c:v>0.7522287845589494</c:v>
                </c:pt>
                <c:pt idx="13">
                  <c:v>0.7525875480056141</c:v>
                </c:pt>
                <c:pt idx="14">
                  <c:v>0.7516989440983658</c:v>
                </c:pt>
                <c:pt idx="15">
                  <c:v>0.752281934699196</c:v>
                </c:pt>
                <c:pt idx="16">
                  <c:v>0.7520543856612651</c:v>
                </c:pt>
                <c:pt idx="17">
                  <c:v>0.7518700211122846</c:v>
                </c:pt>
                <c:pt idx="18">
                  <c:v>0.7524148100498126</c:v>
                </c:pt>
                <c:pt idx="19">
                  <c:v>0.7518700211122846</c:v>
                </c:pt>
                <c:pt idx="20">
                  <c:v>0.7523134925949675</c:v>
                </c:pt>
                <c:pt idx="21">
                  <c:v>0.7520261496492591</c:v>
                </c:pt>
                <c:pt idx="22">
                  <c:v>0.7478854215356698</c:v>
                </c:pt>
                <c:pt idx="23">
                  <c:v>0.7476562115558563</c:v>
                </c:pt>
                <c:pt idx="24">
                  <c:v>0.7479634858041571</c:v>
                </c:pt>
                <c:pt idx="25">
                  <c:v>0.7513534681867626</c:v>
                </c:pt>
                <c:pt idx="26">
                  <c:v>0.7491743124366507</c:v>
                </c:pt>
                <c:pt idx="27">
                  <c:v>0.7490015744808491</c:v>
                </c:pt>
                <c:pt idx="28">
                  <c:v>0.7493005440197364</c:v>
                </c:pt>
                <c:pt idx="29">
                  <c:v>0.7493038659035018</c:v>
                </c:pt>
                <c:pt idx="30">
                  <c:v>0.7489235102123619</c:v>
                </c:pt>
                <c:pt idx="31">
                  <c:v>0.7491577030178236</c:v>
                </c:pt>
                <c:pt idx="32">
                  <c:v>0.7494400631378838</c:v>
                </c:pt>
                <c:pt idx="33">
                  <c:v>0.7485996265452339</c:v>
                </c:pt>
                <c:pt idx="34">
                  <c:v>0.7495131445807229</c:v>
                </c:pt>
                <c:pt idx="35">
                  <c:v>0.7492424110538417</c:v>
                </c:pt>
                <c:pt idx="36">
                  <c:v>0.7488354802925784</c:v>
                </c:pt>
                <c:pt idx="37">
                  <c:v>0.7491660077272372</c:v>
                </c:pt>
                <c:pt idx="38">
                  <c:v>0.7491759733785334</c:v>
                </c:pt>
                <c:pt idx="39">
                  <c:v>0.7491660077272372</c:v>
                </c:pt>
                <c:pt idx="40">
                  <c:v>0.749024827667207</c:v>
                </c:pt>
                <c:pt idx="41">
                  <c:v>0.7495231102320192</c:v>
                </c:pt>
                <c:pt idx="42">
                  <c:v>0.7493952177070508</c:v>
                </c:pt>
                <c:pt idx="43">
                  <c:v>0.7492390891700763</c:v>
                </c:pt>
                <c:pt idx="44">
                  <c:v>0.7487806692104491</c:v>
                </c:pt>
                <c:pt idx="45">
                  <c:v>0.7496426980475741</c:v>
                </c:pt>
                <c:pt idx="46">
                  <c:v>0.749217496925601</c:v>
                </c:pt>
                <c:pt idx="47">
                  <c:v>0.7490995700519288</c:v>
                </c:pt>
                <c:pt idx="48">
                  <c:v>0.7491759733785334</c:v>
                </c:pt>
                <c:pt idx="49">
                  <c:v>0.7491377717152311</c:v>
                </c:pt>
                <c:pt idx="50">
                  <c:v>0.7493304409736252</c:v>
                </c:pt>
                <c:pt idx="51">
                  <c:v>0.7488089052224551</c:v>
                </c:pt>
                <c:pt idx="52">
                  <c:v>0.7549066127141988</c:v>
                </c:pt>
                <c:pt idx="53">
                  <c:v>0.7549066127141988</c:v>
                </c:pt>
                <c:pt idx="54">
                  <c:v>0.74570293094937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80011172616931"/>
          <c:min val="0.5238504755029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1.3718852124183007</c:v>
                </c:pt>
                <c:pt idx="1">
                  <c:v>1.3720253293841285</c:v>
                </c:pt>
                <c:pt idx="2">
                  <c:v>1.3717641051825376</c:v>
                </c:pt>
                <c:pt idx="3">
                  <c:v>1.3717961809455734</c:v>
                </c:pt>
                <c:pt idx="4">
                  <c:v>1.3719552673236992</c:v>
                </c:pt>
                <c:pt idx="5">
                  <c:v>1.3720253293841285</c:v>
                </c:pt>
                <c:pt idx="6">
                  <c:v>1.3719552673236992</c:v>
                </c:pt>
                <c:pt idx="7">
                  <c:v>1.3719362745098038</c:v>
                </c:pt>
                <c:pt idx="8">
                  <c:v>1.371815164666837</c:v>
                </c:pt>
                <c:pt idx="9">
                  <c:v>1.3718662241511361</c:v>
                </c:pt>
                <c:pt idx="10">
                  <c:v>1.371815164666837</c:v>
                </c:pt>
                <c:pt idx="11">
                  <c:v>1.3720253293841285</c:v>
                </c:pt>
                <c:pt idx="12">
                  <c:v>1.3720063320226727</c:v>
                </c:pt>
                <c:pt idx="13">
                  <c:v>1.3719042026247255</c:v>
                </c:pt>
                <c:pt idx="14">
                  <c:v>1.3718341503267975</c:v>
                </c:pt>
                <c:pt idx="15">
                  <c:v>1.3719552673236992</c:v>
                </c:pt>
                <c:pt idx="16">
                  <c:v>1.3720253293841285</c:v>
                </c:pt>
                <c:pt idx="17">
                  <c:v>1.3720763966908385</c:v>
                </c:pt>
                <c:pt idx="18">
                  <c:v>1.3720063320226727</c:v>
                </c:pt>
                <c:pt idx="19">
                  <c:v>1.371815164666837</c:v>
                </c:pt>
                <c:pt idx="20">
                  <c:v>1.3720253293841285</c:v>
                </c:pt>
                <c:pt idx="21">
                  <c:v>1.371815164666837</c:v>
                </c:pt>
                <c:pt idx="22">
                  <c:v>1.3720253293841285</c:v>
                </c:pt>
                <c:pt idx="23">
                  <c:v>1.3719552673236992</c:v>
                </c:pt>
                <c:pt idx="24">
                  <c:v>1.3720953986006845</c:v>
                </c:pt>
                <c:pt idx="25">
                  <c:v>1.371815164666837</c:v>
                </c:pt>
                <c:pt idx="26">
                  <c:v>1.3720253293841285</c:v>
                </c:pt>
                <c:pt idx="27">
                  <c:v>1.3718852124183007</c:v>
                </c:pt>
                <c:pt idx="28">
                  <c:v>1.371815164666837</c:v>
                </c:pt>
                <c:pt idx="29">
                  <c:v>1.3719362745098038</c:v>
                </c:pt>
                <c:pt idx="30">
                  <c:v>1.3720253293841285</c:v>
                </c:pt>
                <c:pt idx="31">
                  <c:v>1.3718852124183007</c:v>
                </c:pt>
                <c:pt idx="32">
                  <c:v>1.3718852124183007</c:v>
                </c:pt>
                <c:pt idx="33">
                  <c:v>1.3719552673236992</c:v>
                </c:pt>
                <c:pt idx="34">
                  <c:v>1.3717961809455734</c:v>
                </c:pt>
                <c:pt idx="35">
                  <c:v>1.3720253293841285</c:v>
                </c:pt>
                <c:pt idx="36">
                  <c:v>1.3719042026247255</c:v>
                </c:pt>
                <c:pt idx="37">
                  <c:v>1.3718852124183007</c:v>
                </c:pt>
                <c:pt idx="38">
                  <c:v>1.3720063320226727</c:v>
                </c:pt>
                <c:pt idx="39">
                  <c:v>1.371815164666837</c:v>
                </c:pt>
                <c:pt idx="40">
                  <c:v>1.371815164666837</c:v>
                </c:pt>
                <c:pt idx="41">
                  <c:v>1.3720253293841285</c:v>
                </c:pt>
                <c:pt idx="42">
                  <c:v>1.3717451240682121</c:v>
                </c:pt>
                <c:pt idx="43">
                  <c:v>1.3720763966908385</c:v>
                </c:pt>
              </c:numCache>
            </c:numRef>
          </c:xVal>
          <c:yVal>
            <c:numRef>
              <c:f>Sheet1!$B$2:$B$45</c:f>
              <c:numCache>
                <c:formatCode>General</c:formatCode>
                <c:ptCount val="44"/>
                <c:pt idx="0">
                  <c:v>0.7181559646759467</c:v>
                </c:pt>
                <c:pt idx="1">
                  <c:v>0.7240837835679876</c:v>
                </c:pt>
                <c:pt idx="2">
                  <c:v>0.770692494899088</c:v>
                </c:pt>
                <c:pt idx="3">
                  <c:v>0.7197641874590603</c:v>
                </c:pt>
                <c:pt idx="4">
                  <c:v>0.7546499530564085</c:v>
                </c:pt>
                <c:pt idx="5">
                  <c:v>0.7565416709591016</c:v>
                </c:pt>
                <c:pt idx="6">
                  <c:v>0.7435408061529697</c:v>
                </c:pt>
                <c:pt idx="7">
                  <c:v>0.7110051089563132</c:v>
                </c:pt>
                <c:pt idx="8">
                  <c:v>0.7246480213089802</c:v>
                </c:pt>
                <c:pt idx="9">
                  <c:v>0.7072067070123813</c:v>
                </c:pt>
                <c:pt idx="10">
                  <c:v>0.7122765472030497</c:v>
                </c:pt>
                <c:pt idx="11">
                  <c:v>0.7179212817027676</c:v>
                </c:pt>
                <c:pt idx="12">
                  <c:v>0.7281744929146985</c:v>
                </c:pt>
                <c:pt idx="13">
                  <c:v>0.7474097554052136</c:v>
                </c:pt>
                <c:pt idx="14">
                  <c:v>0.7401165396683101</c:v>
                </c:pt>
                <c:pt idx="15">
                  <c:v>0.7371900826446282</c:v>
                </c:pt>
                <c:pt idx="16">
                  <c:v>0.6968920668881257</c:v>
                </c:pt>
                <c:pt idx="17">
                  <c:v>0.7420756422593532</c:v>
                </c:pt>
                <c:pt idx="18">
                  <c:v>0.7619813263377619</c:v>
                </c:pt>
                <c:pt idx="19">
                  <c:v>0.7392484016840792</c:v>
                </c:pt>
                <c:pt idx="20">
                  <c:v>0.7798173600221382</c:v>
                </c:pt>
                <c:pt idx="21">
                  <c:v>0.7472183239775461</c:v>
                </c:pt>
                <c:pt idx="22">
                  <c:v>0.7361861354940356</c:v>
                </c:pt>
                <c:pt idx="23">
                  <c:v>0.7737013543631065</c:v>
                </c:pt>
                <c:pt idx="24">
                  <c:v>0.7743241764255226</c:v>
                </c:pt>
                <c:pt idx="25">
                  <c:v>0.7314823412882657</c:v>
                </c:pt>
                <c:pt idx="26">
                  <c:v>0.7360596506570317</c:v>
                </c:pt>
                <c:pt idx="27">
                  <c:v>0.6843659797274619</c:v>
                </c:pt>
                <c:pt idx="28">
                  <c:v>0.7197692186100427</c:v>
                </c:pt>
                <c:pt idx="29">
                  <c:v>0.7058493914017994</c:v>
                </c:pt>
                <c:pt idx="30">
                  <c:v>0.725185903653411</c:v>
                </c:pt>
                <c:pt idx="31">
                  <c:v>0.7305941023417173</c:v>
                </c:pt>
                <c:pt idx="32">
                  <c:v>0.7413191649224494</c:v>
                </c:pt>
                <c:pt idx="33">
                  <c:v>0.6548130943787075</c:v>
                </c:pt>
                <c:pt idx="34">
                  <c:v>0.7243389864881994</c:v>
                </c:pt>
                <c:pt idx="35">
                  <c:v>0.7252943095961244</c:v>
                </c:pt>
                <c:pt idx="36">
                  <c:v>0.7504909693828273</c:v>
                </c:pt>
                <c:pt idx="37">
                  <c:v>0.7197731509438916</c:v>
                </c:pt>
                <c:pt idx="38">
                  <c:v>0.7272605168430667</c:v>
                </c:pt>
                <c:pt idx="39">
                  <c:v>0.7475074775672981</c:v>
                </c:pt>
                <c:pt idx="40">
                  <c:v>0.7380187963341311</c:v>
                </c:pt>
                <c:pt idx="41">
                  <c:v>0.7539144857054507</c:v>
                </c:pt>
                <c:pt idx="42">
                  <c:v>0.7616389069817934</c:v>
                </c:pt>
                <c:pt idx="43">
                  <c:v>0.7662033739647138</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1.3440563725490198</c:v>
                </c:pt>
                <c:pt idx="1">
                  <c:v>1.3853421859039836</c:v>
                </c:pt>
                <c:pt idx="2">
                  <c:v>1.384619312669152</c:v>
                </c:pt>
                <c:pt idx="3">
                  <c:v>1.3848235714650463</c:v>
                </c:pt>
                <c:pt idx="4">
                  <c:v>1.3851299596588877</c:v>
                </c:pt>
                <c:pt idx="5">
                  <c:v>1.3827734095782702</c:v>
                </c:pt>
                <c:pt idx="6">
                  <c:v>1.3796272657646158</c:v>
                </c:pt>
                <c:pt idx="7">
                  <c:v>1.3865284444898376</c:v>
                </c:pt>
                <c:pt idx="8">
                  <c:v>1.3875810652096205</c:v>
                </c:pt>
                <c:pt idx="9">
                  <c:v>1.3826593137254903</c:v>
                </c:pt>
                <c:pt idx="10">
                  <c:v>1.38258871585397</c:v>
                </c:pt>
                <c:pt idx="11">
                  <c:v>1.381995506535948</c:v>
                </c:pt>
                <c:pt idx="12">
                  <c:v>1.3881938415973039</c:v>
                </c:pt>
                <c:pt idx="13">
                  <c:v>1.3992952711673987</c:v>
                </c:pt>
                <c:pt idx="14">
                  <c:v>1.372114402451481</c:v>
                </c:pt>
                <c:pt idx="15">
                  <c:v>1.389827911964459</c:v>
                </c:pt>
                <c:pt idx="16">
                  <c:v>1.382973290434605</c:v>
                </c:pt>
                <c:pt idx="17">
                  <c:v>1.377234194668573</c:v>
                </c:pt>
                <c:pt idx="18">
                  <c:v>1.393913087882347</c:v>
                </c:pt>
                <c:pt idx="19">
                  <c:v>1.377234194668573</c:v>
                </c:pt>
                <c:pt idx="20">
                  <c:v>1.3907981412449573</c:v>
                </c:pt>
                <c:pt idx="21">
                  <c:v>1.3818228235894818</c:v>
                </c:pt>
                <c:pt idx="22">
                  <c:v>1.254659653781341</c:v>
                </c:pt>
                <c:pt idx="23">
                  <c:v>1.2476127253229843</c:v>
                </c:pt>
                <c:pt idx="24">
                  <c:v>1.2570596946331</c:v>
                </c:pt>
                <c:pt idx="25">
                  <c:v>1.3612827452382168</c:v>
                </c:pt>
                <c:pt idx="26">
                  <c:v>1.2943519558778471</c:v>
                </c:pt>
                <c:pt idx="27">
                  <c:v>1.2889093137254903</c:v>
                </c:pt>
                <c:pt idx="28">
                  <c:v>1.297967936281017</c:v>
                </c:pt>
                <c:pt idx="29">
                  <c:v>1.29807005003574</c:v>
                </c:pt>
                <c:pt idx="30">
                  <c:v>1.2865093954248366</c:v>
                </c:pt>
                <c:pt idx="31">
                  <c:v>1.2937752131951181</c:v>
                </c:pt>
                <c:pt idx="32">
                  <c:v>1.3024562120206302</c:v>
                </c:pt>
                <c:pt idx="33">
                  <c:v>1.2764219340345144</c:v>
                </c:pt>
                <c:pt idx="34">
                  <c:v>1.3045698238447794</c:v>
                </c:pt>
                <c:pt idx="35">
                  <c:v>1.2962471279040082</c:v>
                </c:pt>
                <c:pt idx="36">
                  <c:v>1.2838031045751637</c:v>
                </c:pt>
                <c:pt idx="37">
                  <c:v>1.2940966193442958</c:v>
                </c:pt>
                <c:pt idx="38">
                  <c:v>1.2942708333333333</c:v>
                </c:pt>
                <c:pt idx="39">
                  <c:v>1.2941627087482763</c:v>
                </c:pt>
                <c:pt idx="40">
                  <c:v>1.2898876404494382</c:v>
                </c:pt>
                <c:pt idx="41">
                  <c:v>1.3050760902869984</c:v>
                </c:pt>
                <c:pt idx="42">
                  <c:v>1.3011439076703095</c:v>
                </c:pt>
                <c:pt idx="43">
                  <c:v>1.2962773834448247</c:v>
                </c:pt>
                <c:pt idx="44">
                  <c:v>1.282052591268828</c:v>
                </c:pt>
                <c:pt idx="45">
                  <c:v>1.308819774270977</c:v>
                </c:pt>
                <c:pt idx="46">
                  <c:v>1.295745876104387</c:v>
                </c:pt>
                <c:pt idx="47">
                  <c:v>1.291921977124183</c:v>
                </c:pt>
                <c:pt idx="48">
                  <c:v>1.294336924883828</c:v>
                </c:pt>
                <c:pt idx="49">
                  <c:v>1.293162436807435</c:v>
                </c:pt>
                <c:pt idx="50">
                  <c:v>1.2989532805718662</c:v>
                </c:pt>
                <c:pt idx="51">
                  <c:v>1.2830516264106624</c:v>
                </c:pt>
              </c:numCache>
            </c:numRef>
          </c:xVal>
          <c:yVal>
            <c:numRef>
              <c:f>Sheet1!$B$48:$B$99</c:f>
              <c:numCache>
                <c:formatCode>General</c:formatCode>
                <c:ptCount val="52"/>
                <c:pt idx="0">
                  <c:v>0.7804529997571047</c:v>
                </c:pt>
                <c:pt idx="1">
                  <c:v>0.7675140293258166</c:v>
                </c:pt>
                <c:pt idx="2">
                  <c:v>0.7579610349933021</c:v>
                </c:pt>
                <c:pt idx="3">
                  <c:v>0.7186430710008554</c:v>
                </c:pt>
                <c:pt idx="4">
                  <c:v>0.7869671475225469</c:v>
                </c:pt>
                <c:pt idx="5">
                  <c:v>0.7451300710378456</c:v>
                </c:pt>
                <c:pt idx="6">
                  <c:v>0.7489857608782118</c:v>
                </c:pt>
                <c:pt idx="7">
                  <c:v>0.7747246308882119</c:v>
                </c:pt>
                <c:pt idx="8">
                  <c:v>0.727795034682486</c:v>
                </c:pt>
                <c:pt idx="9">
                  <c:v>0.7476189383333716</c:v>
                </c:pt>
                <c:pt idx="10">
                  <c:v>0.7507173601147776</c:v>
                </c:pt>
                <c:pt idx="11">
                  <c:v>0.7511606747077899</c:v>
                </c:pt>
                <c:pt idx="12">
                  <c:v>0.7561152120422637</c:v>
                </c:pt>
                <c:pt idx="13">
                  <c:v>0.7481640424310194</c:v>
                </c:pt>
                <c:pt idx="14">
                  <c:v>0.7202294848848898</c:v>
                </c:pt>
                <c:pt idx="15">
                  <c:v>0.7481779230531383</c:v>
                </c:pt>
                <c:pt idx="16">
                  <c:v>0.7368782237177075</c:v>
                </c:pt>
                <c:pt idx="17">
                  <c:v>0.741120857453424</c:v>
                </c:pt>
                <c:pt idx="18">
                  <c:v>0.7581786651668542</c:v>
                </c:pt>
                <c:pt idx="19">
                  <c:v>0.7383770714753438</c:v>
                </c:pt>
                <c:pt idx="20">
                  <c:v>0.7517236608481103</c:v>
                </c:pt>
                <c:pt idx="21">
                  <c:v>0.7722822246896134</c:v>
                </c:pt>
                <c:pt idx="22">
                  <c:v>0.7193809726855451</c:v>
                </c:pt>
                <c:pt idx="23">
                  <c:v>0.7332094210336505</c:v>
                </c:pt>
                <c:pt idx="24">
                  <c:v>0.7752694436353044</c:v>
                </c:pt>
                <c:pt idx="25">
                  <c:v>0.7752956164432722</c:v>
                </c:pt>
                <c:pt idx="26">
                  <c:v>0.7507450466677583</c:v>
                </c:pt>
                <c:pt idx="27">
                  <c:v>0.744499316037189</c:v>
                </c:pt>
                <c:pt idx="28">
                  <c:v>0.7538755517278501</c:v>
                </c:pt>
                <c:pt idx="29">
                  <c:v>0.7420296909223656</c:v>
                </c:pt>
                <c:pt idx="30">
                  <c:v>0.7782326921098652</c:v>
                </c:pt>
                <c:pt idx="31">
                  <c:v>0.7662631306232041</c:v>
                </c:pt>
                <c:pt idx="32">
                  <c:v>0.7983342643847443</c:v>
                </c:pt>
                <c:pt idx="33">
                  <c:v>0.7539404120756954</c:v>
                </c:pt>
                <c:pt idx="34">
                  <c:v>0.7479789688065005</c:v>
                </c:pt>
                <c:pt idx="35">
                  <c:v>0.7263903790014721</c:v>
                </c:pt>
                <c:pt idx="36">
                  <c:v>0.7515152901351753</c:v>
                </c:pt>
                <c:pt idx="37">
                  <c:v>0.740088400750067</c:v>
                </c:pt>
                <c:pt idx="38">
                  <c:v>0.7382880463967351</c:v>
                </c:pt>
                <c:pt idx="39">
                  <c:v>0.7308872357416046</c:v>
                </c:pt>
                <c:pt idx="40">
                  <c:v>0.7287521753445275</c:v>
                </c:pt>
                <c:pt idx="41">
                  <c:v>0.7317298086528856</c:v>
                </c:pt>
                <c:pt idx="42">
                  <c:v>0.7386889918061987</c:v>
                </c:pt>
                <c:pt idx="43">
                  <c:v>0.7584185613028229</c:v>
                </c:pt>
                <c:pt idx="44">
                  <c:v>0.7516338513247163</c:v>
                </c:pt>
                <c:pt idx="45">
                  <c:v>0.7382210268478939</c:v>
                </c:pt>
                <c:pt idx="46">
                  <c:v>0.7444996286669142</c:v>
                </c:pt>
                <c:pt idx="47">
                  <c:v>0.7392807099486222</c:v>
                </c:pt>
                <c:pt idx="48">
                  <c:v>0.7577430337487191</c:v>
                </c:pt>
                <c:pt idx="49">
                  <c:v>0.7150083821064086</c:v>
                </c:pt>
                <c:pt idx="50">
                  <c:v>0.7931636395775332</c:v>
                </c:pt>
                <c:pt idx="51">
                  <c:v>0.7661110572729916</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1.471403878956456</c:v>
                </c:pt>
              </c:numCache>
            </c:numRef>
          </c:xVal>
          <c:yVal>
            <c:numRef>
              <c:f>Sheet1!$B$102:$B$103</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1.471403878956456</c:v>
                </c:pt>
                <c:pt idx="1">
                  <c:v>1.471403878956456</c:v>
                </c:pt>
              </c:numCache>
            </c:numRef>
          </c:xVal>
          <c:yVal>
            <c:numRef>
              <c:f>Sheet1!$B$106:$B$107</c:f>
              <c:numCache>
                <c:formatCode>General</c:formatCode>
                <c:ptCount val="2"/>
                <c:pt idx="0">
                  <c:v>0.754906612714198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1.471403878956456</c:v>
                </c:pt>
              </c:numCache>
            </c:numRef>
          </c:xVal>
          <c:yVal>
            <c:numRef>
              <c:f>Sheet1!$B$110:$B$111</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1.471403878956456</c:v>
                </c:pt>
                <c:pt idx="1">
                  <c:v>1.471403878956456</c:v>
                </c:pt>
              </c:numCache>
            </c:numRef>
          </c:xVal>
          <c:yVal>
            <c:numRef>
              <c:f>Sheet1!$B$114:$B$115</c:f>
              <c:numCache>
                <c:formatCode>General</c:formatCode>
                <c:ptCount val="2"/>
                <c:pt idx="0">
                  <c:v>0.7549066127141988</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1.186636637776588</c:v>
                </c:pt>
              </c:numCache>
            </c:numRef>
          </c:xVal>
          <c:yVal>
            <c:numRef>
              <c:f>Sheet1!$B$118:$B$119</c:f>
              <c:numCache>
                <c:formatCode>General</c:formatCode>
                <c:ptCount val="2"/>
                <c:pt idx="0">
                  <c:v>0.7457029309493723</c:v>
                </c:pt>
                <c:pt idx="1">
                  <c:v>0.7457029309493723</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1.186636637776588</c:v>
                </c:pt>
                <c:pt idx="1">
                  <c:v>1.186636637776588</c:v>
                </c:pt>
              </c:numCache>
            </c:numRef>
          </c:xVal>
          <c:yVal>
            <c:numRef>
              <c:f>Sheet1!$B$122:$B$123</c:f>
              <c:numCache>
                <c:formatCode>General</c:formatCode>
                <c:ptCount val="2"/>
                <c:pt idx="0">
                  <c:v>0.745702930949372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1.3440563725490198</c:v>
                </c:pt>
                <c:pt idx="1">
                  <c:v>1.3853421859039836</c:v>
                </c:pt>
                <c:pt idx="2">
                  <c:v>1.384619312669152</c:v>
                </c:pt>
                <c:pt idx="3">
                  <c:v>1.3848235714650463</c:v>
                </c:pt>
                <c:pt idx="4">
                  <c:v>1.3851299596588877</c:v>
                </c:pt>
                <c:pt idx="5">
                  <c:v>1.3827734095782702</c:v>
                </c:pt>
                <c:pt idx="6">
                  <c:v>1.3796272657646158</c:v>
                </c:pt>
                <c:pt idx="7">
                  <c:v>1.3865284444898376</c:v>
                </c:pt>
                <c:pt idx="8">
                  <c:v>1.3875810652096205</c:v>
                </c:pt>
                <c:pt idx="9">
                  <c:v>1.3826593137254903</c:v>
                </c:pt>
                <c:pt idx="10">
                  <c:v>1.38258871585397</c:v>
                </c:pt>
                <c:pt idx="11">
                  <c:v>1.381995506535948</c:v>
                </c:pt>
                <c:pt idx="12">
                  <c:v>1.3881938415973039</c:v>
                </c:pt>
                <c:pt idx="13">
                  <c:v>1.3992952711673987</c:v>
                </c:pt>
                <c:pt idx="14">
                  <c:v>1.372114402451481</c:v>
                </c:pt>
                <c:pt idx="15">
                  <c:v>1.389827911964459</c:v>
                </c:pt>
                <c:pt idx="16">
                  <c:v>1.382973290434605</c:v>
                </c:pt>
                <c:pt idx="17">
                  <c:v>1.377234194668573</c:v>
                </c:pt>
                <c:pt idx="18">
                  <c:v>1.393913087882347</c:v>
                </c:pt>
                <c:pt idx="19">
                  <c:v>1.377234194668573</c:v>
                </c:pt>
                <c:pt idx="20">
                  <c:v>1.3907981412449573</c:v>
                </c:pt>
                <c:pt idx="21">
                  <c:v>1.3818228235894818</c:v>
                </c:pt>
                <c:pt idx="22">
                  <c:v>1.254659653781341</c:v>
                </c:pt>
                <c:pt idx="23">
                  <c:v>1.2476127253229843</c:v>
                </c:pt>
                <c:pt idx="24">
                  <c:v>1.2570596946331</c:v>
                </c:pt>
                <c:pt idx="25">
                  <c:v>1.3612827452382168</c:v>
                </c:pt>
                <c:pt idx="26">
                  <c:v>1.2943519558778471</c:v>
                </c:pt>
                <c:pt idx="27">
                  <c:v>1.2889093137254903</c:v>
                </c:pt>
                <c:pt idx="28">
                  <c:v>1.297967936281017</c:v>
                </c:pt>
                <c:pt idx="29">
                  <c:v>1.29807005003574</c:v>
                </c:pt>
                <c:pt idx="30">
                  <c:v>1.2865093954248366</c:v>
                </c:pt>
                <c:pt idx="31">
                  <c:v>1.2937752131951181</c:v>
                </c:pt>
                <c:pt idx="32">
                  <c:v>1.3024562120206302</c:v>
                </c:pt>
                <c:pt idx="33">
                  <c:v>1.2764219340345144</c:v>
                </c:pt>
                <c:pt idx="34">
                  <c:v>1.3045698238447794</c:v>
                </c:pt>
                <c:pt idx="35">
                  <c:v>1.2962471279040082</c:v>
                </c:pt>
                <c:pt idx="36">
                  <c:v>1.2838031045751637</c:v>
                </c:pt>
                <c:pt idx="37">
                  <c:v>1.2940966193442958</c:v>
                </c:pt>
                <c:pt idx="38">
                  <c:v>1.2942708333333333</c:v>
                </c:pt>
                <c:pt idx="39">
                  <c:v>1.2941627087482763</c:v>
                </c:pt>
                <c:pt idx="40">
                  <c:v>1.2898876404494382</c:v>
                </c:pt>
                <c:pt idx="41">
                  <c:v>1.3050760902869984</c:v>
                </c:pt>
                <c:pt idx="42">
                  <c:v>1.3011439076703095</c:v>
                </c:pt>
                <c:pt idx="43">
                  <c:v>1.2962773834448247</c:v>
                </c:pt>
                <c:pt idx="44">
                  <c:v>1.282052591268828</c:v>
                </c:pt>
                <c:pt idx="45">
                  <c:v>1.308819774270977</c:v>
                </c:pt>
                <c:pt idx="46">
                  <c:v>1.295745876104387</c:v>
                </c:pt>
                <c:pt idx="47">
                  <c:v>1.291921977124183</c:v>
                </c:pt>
                <c:pt idx="48">
                  <c:v>1.294336924883828</c:v>
                </c:pt>
                <c:pt idx="49">
                  <c:v>1.293162436807435</c:v>
                </c:pt>
                <c:pt idx="50">
                  <c:v>1.2989532805718662</c:v>
                </c:pt>
                <c:pt idx="51">
                  <c:v>1.2830516264106624</c:v>
                </c:pt>
                <c:pt idx="52">
                  <c:v>1.471403878956456</c:v>
                </c:pt>
                <c:pt idx="53">
                  <c:v>1.471403878956456</c:v>
                </c:pt>
                <c:pt idx="54">
                  <c:v>1.186636637776588</c:v>
                </c:pt>
              </c:numCache>
            </c:numRef>
          </c:xVal>
          <c:yVal>
            <c:numRef>
              <c:f>Sheet1!$B$126:$B$180</c:f>
              <c:numCache>
                <c:formatCode>General</c:formatCode>
                <c:ptCount val="55"/>
                <c:pt idx="0">
                  <c:v>0.7507907392813487</c:v>
                </c:pt>
                <c:pt idx="1">
                  <c:v>0.7521250974257291</c:v>
                </c:pt>
                <c:pt idx="2">
                  <c:v>0.7521017341512803</c:v>
                </c:pt>
                <c:pt idx="3">
                  <c:v>0.7521083357988129</c:v>
                </c:pt>
                <c:pt idx="4">
                  <c:v>0.7521182382701117</c:v>
                </c:pt>
                <c:pt idx="5">
                  <c:v>0.7520420745340196</c:v>
                </c:pt>
                <c:pt idx="6">
                  <c:v>0.7519403911159155</c:v>
                </c:pt>
                <c:pt idx="7">
                  <c:v>0.7521634373220941</c:v>
                </c:pt>
                <c:pt idx="8">
                  <c:v>0.752197458040502</c:v>
                </c:pt>
                <c:pt idx="9">
                  <c:v>0.7520383869542429</c:v>
                </c:pt>
                <c:pt idx="10">
                  <c:v>0.7520361052299123</c:v>
                </c:pt>
                <c:pt idx="11">
                  <c:v>0.7520169326953174</c:v>
                </c:pt>
                <c:pt idx="12">
                  <c:v>0.7522172629830995</c:v>
                </c:pt>
                <c:pt idx="13">
                  <c:v>0.7525760613633994</c:v>
                </c:pt>
                <c:pt idx="14">
                  <c:v>0.7516975752541252</c:v>
                </c:pt>
                <c:pt idx="15">
                  <c:v>0.7522700761633597</c:v>
                </c:pt>
                <c:pt idx="16">
                  <c:v>0.7520485346864759</c:v>
                </c:pt>
                <c:pt idx="17">
                  <c:v>0.7518630470200239</c:v>
                </c:pt>
                <c:pt idx="18">
                  <c:v>0.7524021091140102</c:v>
                </c:pt>
                <c:pt idx="19">
                  <c:v>0.7518630470200239</c:v>
                </c:pt>
                <c:pt idx="20">
                  <c:v>0.7523014339891392</c:v>
                </c:pt>
                <c:pt idx="21">
                  <c:v>0.7520113515797406</c:v>
                </c:pt>
                <c:pt idx="22">
                  <c:v>0.7479014359087122</c:v>
                </c:pt>
                <c:pt idx="23">
                  <c:v>0.7476736790688401</c:v>
                </c:pt>
                <c:pt idx="24">
                  <c:v>0.7479790052672193</c:v>
                </c:pt>
                <c:pt idx="25">
                  <c:v>0.7513474959206895</c:v>
                </c:pt>
                <c:pt idx="26">
                  <c:v>0.7491842917438707</c:v>
                </c:pt>
                <c:pt idx="27">
                  <c:v>0.7490083854629285</c:v>
                </c:pt>
                <c:pt idx="28">
                  <c:v>0.7493011602880217</c:v>
                </c:pt>
                <c:pt idx="29">
                  <c:v>0.7493044606061988</c:v>
                </c:pt>
                <c:pt idx="30">
                  <c:v>0.748930820065275</c:v>
                </c:pt>
                <c:pt idx="31">
                  <c:v>0.7491656514111904</c:v>
                </c:pt>
                <c:pt idx="32">
                  <c:v>0.7494462214313227</c:v>
                </c:pt>
                <c:pt idx="33">
                  <c:v>0.7486047931526749</c:v>
                </c:pt>
                <c:pt idx="34">
                  <c:v>0.7495145333991011</c:v>
                </c:pt>
                <c:pt idx="35">
                  <c:v>0.7492455437339034</c:v>
                </c:pt>
                <c:pt idx="36">
                  <c:v>0.7488433527019637</c:v>
                </c:pt>
                <c:pt idx="37">
                  <c:v>0.7491760392630445</c:v>
                </c:pt>
                <c:pt idx="38">
                  <c:v>0.7491816698619416</c:v>
                </c:pt>
                <c:pt idx="39">
                  <c:v>0.7491781752736325</c:v>
                </c:pt>
                <c:pt idx="40">
                  <c:v>0.749040004998209</c:v>
                </c:pt>
                <c:pt idx="41">
                  <c:v>0.749530895938567</c:v>
                </c:pt>
                <c:pt idx="42">
                  <c:v>0.749403807733845</c:v>
                </c:pt>
                <c:pt idx="43">
                  <c:v>0.7492465215934638</c:v>
                </c:pt>
                <c:pt idx="44">
                  <c:v>0.7487867760840569</c:v>
                </c:pt>
                <c:pt idx="45">
                  <c:v>0.7496518918644813</c:v>
                </c:pt>
                <c:pt idx="46">
                  <c:v>0.749229343267766</c:v>
                </c:pt>
                <c:pt idx="47">
                  <c:v>0.7491057547918977</c:v>
                </c:pt>
                <c:pt idx="48">
                  <c:v>0.7491838059419048</c:v>
                </c:pt>
                <c:pt idx="49">
                  <c:v>0.7491458464685928</c:v>
                </c:pt>
                <c:pt idx="50">
                  <c:v>0.7493330066311763</c:v>
                </c:pt>
                <c:pt idx="51">
                  <c:v>0.7488190649157329</c:v>
                </c:pt>
                <c:pt idx="52">
                  <c:v>0.7549066127141988</c:v>
                </c:pt>
                <c:pt idx="53">
                  <c:v>0.7549066127141988</c:v>
                </c:pt>
                <c:pt idx="54">
                  <c:v>0.74570293094937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cendad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80011172616931"/>
          <c:min val="0.52385047550296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0.402144302615193</c:v>
                </c:pt>
                <c:pt idx="1">
                  <c:v>0.40213647773043015</c:v>
                </c:pt>
                <c:pt idx="2">
                  <c:v>0.378505127556481</c:v>
                </c:pt>
                <c:pt idx="3">
                  <c:v>0.36179320543254073</c:v>
                </c:pt>
                <c:pt idx="4">
                  <c:v>0.36185657292984336</c:v>
                </c:pt>
                <c:pt idx="5">
                  <c:v>0.36179320543254073</c:v>
                </c:pt>
                <c:pt idx="6">
                  <c:v>0.3688963275791604</c:v>
                </c:pt>
                <c:pt idx="7">
                  <c:v>0.40215995329830706</c:v>
                </c:pt>
                <c:pt idx="8">
                  <c:v>0.40220691265763664</c:v>
                </c:pt>
                <c:pt idx="9">
                  <c:v>0.402144302615193</c:v>
                </c:pt>
                <c:pt idx="10">
                  <c:v>0.40215995329830706</c:v>
                </c:pt>
                <c:pt idx="11">
                  <c:v>0.4019457145636735</c:v>
                </c:pt>
                <c:pt idx="12">
                  <c:v>0.4021521278044794</c:v>
                </c:pt>
                <c:pt idx="13">
                  <c:v>0.3717182725804254</c:v>
                </c:pt>
                <c:pt idx="14">
                  <c:v>0.36195960932332</c:v>
                </c:pt>
                <c:pt idx="15">
                  <c:v>0.362037091093078</c:v>
                </c:pt>
                <c:pt idx="16">
                  <c:v>0.3620582282422544</c:v>
                </c:pt>
                <c:pt idx="17">
                  <c:v>0.39356671661250464</c:v>
                </c:pt>
                <c:pt idx="18">
                  <c:v>0.40219125831938657</c:v>
                </c:pt>
                <c:pt idx="19">
                  <c:v>0.3762380090673827</c:v>
                </c:pt>
                <c:pt idx="20">
                  <c:v>0.36204413653524303</c:v>
                </c:pt>
                <c:pt idx="21">
                  <c:v>0.3623752359087106</c:v>
                </c:pt>
                <c:pt idx="22">
                  <c:v>0.3882618510158014</c:v>
                </c:pt>
                <c:pt idx="23">
                  <c:v>0.4021521278044794</c:v>
                </c:pt>
                <c:pt idx="24">
                  <c:v>0.3788138231631383</c:v>
                </c:pt>
                <c:pt idx="25">
                  <c:v>0.36198073742581965</c:v>
                </c:pt>
                <c:pt idx="26">
                  <c:v>0.41723748735113253</c:v>
                </c:pt>
                <c:pt idx="27">
                  <c:v>0.4222222222222222</c:v>
                </c:pt>
                <c:pt idx="28">
                  <c:v>0.4043397878758393</c:v>
                </c:pt>
                <c:pt idx="29">
                  <c:v>0.41579899966915124</c:v>
                </c:pt>
                <c:pt idx="30">
                  <c:v>0.40633209441709317</c:v>
                </c:pt>
                <c:pt idx="31">
                  <c:v>0.4038057436376372</c:v>
                </c:pt>
                <c:pt idx="32">
                  <c:v>0.3860000778422138</c:v>
                </c:pt>
                <c:pt idx="33">
                  <c:v>0.38969328973999695</c:v>
                </c:pt>
                <c:pt idx="34">
                  <c:v>0.4109599704205344</c:v>
                </c:pt>
                <c:pt idx="35">
                  <c:v>0.42918304596582724</c:v>
                </c:pt>
                <c:pt idx="36">
                  <c:v>0.42637786081270435</c:v>
                </c:pt>
                <c:pt idx="37">
                  <c:v>0.4131911332541891</c:v>
                </c:pt>
                <c:pt idx="38">
                  <c:v>0.3982485161039214</c:v>
                </c:pt>
                <c:pt idx="39">
                  <c:v>0.38234035101373703</c:v>
                </c:pt>
                <c:pt idx="40">
                  <c:v>0.38752992001868175</c:v>
                </c:pt>
                <c:pt idx="41">
                  <c:v>0.4391416008404996</c:v>
                </c:pt>
                <c:pt idx="42">
                  <c:v>0.4338282511821597</c:v>
                </c:pt>
                <c:pt idx="43">
                  <c:v>0.4298278042611149</c:v>
                </c:pt>
              </c:numCache>
            </c:numRef>
          </c:xVal>
          <c:yVal>
            <c:numRef>
              <c:f>Sheet1!$B$2:$B$45</c:f>
              <c:numCache>
                <c:formatCode>General</c:formatCode>
                <c:ptCount val="44"/>
                <c:pt idx="0">
                  <c:v>0.07096151083947083</c:v>
                </c:pt>
                <c:pt idx="1">
                  <c:v>0.08110516436900542</c:v>
                </c:pt>
                <c:pt idx="2">
                  <c:v>0.08493739414611329</c:v>
                </c:pt>
                <c:pt idx="3">
                  <c:v>0.09794152463201843</c:v>
                </c:pt>
                <c:pt idx="4">
                  <c:v>0.08636520232767078</c:v>
                </c:pt>
                <c:pt idx="5">
                  <c:v>0.08954624146417127</c:v>
                </c:pt>
                <c:pt idx="6">
                  <c:v>0.09985820684845727</c:v>
                </c:pt>
                <c:pt idx="7">
                  <c:v>0.0752311076552957</c:v>
                </c:pt>
                <c:pt idx="8">
                  <c:v>0.08552164224673983</c:v>
                </c:pt>
                <c:pt idx="9">
                  <c:v>0.07780558724241396</c:v>
                </c:pt>
                <c:pt idx="10">
                  <c:v>0.08158007728638901</c:v>
                </c:pt>
                <c:pt idx="11">
                  <c:v>0.08199599488359431</c:v>
                </c:pt>
                <c:pt idx="12">
                  <c:v>0.08528397230523303</c:v>
                </c:pt>
                <c:pt idx="13">
                  <c:v>0.09727920889447374</c:v>
                </c:pt>
                <c:pt idx="14">
                  <c:v>0.08946308680196463</c:v>
                </c:pt>
                <c:pt idx="15">
                  <c:v>0.08211715576959872</c:v>
                </c:pt>
                <c:pt idx="16">
                  <c:v>0.08722805915124317</c:v>
                </c:pt>
                <c:pt idx="17">
                  <c:v>0.09352473407001963</c:v>
                </c:pt>
                <c:pt idx="18">
                  <c:v>0.08434838038740794</c:v>
                </c:pt>
                <c:pt idx="19">
                  <c:v>0.10126460157857697</c:v>
                </c:pt>
                <c:pt idx="20">
                  <c:v>0.07882558904537294</c:v>
                </c:pt>
                <c:pt idx="21">
                  <c:v>0.09088138788813294</c:v>
                </c:pt>
                <c:pt idx="22">
                  <c:v>0.08492839959843161</c:v>
                </c:pt>
                <c:pt idx="23">
                  <c:v>0.08002557033840745</c:v>
                </c:pt>
                <c:pt idx="24">
                  <c:v>0.08870839802424595</c:v>
                </c:pt>
                <c:pt idx="25">
                  <c:v>0.08814101892275535</c:v>
                </c:pt>
                <c:pt idx="26">
                  <c:v>0.11186490368356827</c:v>
                </c:pt>
                <c:pt idx="27">
                  <c:v>0.1066226193722102</c:v>
                </c:pt>
                <c:pt idx="28">
                  <c:v>0.09392703501447323</c:v>
                </c:pt>
                <c:pt idx="29">
                  <c:v>0.08661220393852827</c:v>
                </c:pt>
                <c:pt idx="30">
                  <c:v>0.09252925564217239</c:v>
                </c:pt>
                <c:pt idx="31">
                  <c:v>0.09248728319016201</c:v>
                </c:pt>
                <c:pt idx="32">
                  <c:v>0.10394504920570757</c:v>
                </c:pt>
                <c:pt idx="33">
                  <c:v>0.10114623982935728</c:v>
                </c:pt>
                <c:pt idx="34">
                  <c:v>0.09829188235760701</c:v>
                </c:pt>
                <c:pt idx="35">
                  <c:v>0.08891287191490223</c:v>
                </c:pt>
                <c:pt idx="36">
                  <c:v>0.08112231423225112</c:v>
                </c:pt>
                <c:pt idx="37">
                  <c:v>0.1138048308388539</c:v>
                </c:pt>
                <c:pt idx="38">
                  <c:v>0.10277795205530238</c:v>
                </c:pt>
                <c:pt idx="39">
                  <c:v>0.11341389334682281</c:v>
                </c:pt>
                <c:pt idx="40">
                  <c:v>0.10130440349634595</c:v>
                </c:pt>
                <c:pt idx="41">
                  <c:v>0.09961503514291283</c:v>
                </c:pt>
                <c:pt idx="42">
                  <c:v>0.08353227163353241</c:v>
                </c:pt>
                <c:pt idx="43">
                  <c:v>0.08595457049276539</c:v>
                </c:pt>
              </c:numCache>
            </c:numRef>
          </c:yVal>
          <c:smooth val="0"/>
          <c:extLst>
            <c:ext xmlns:c16="http://schemas.microsoft.com/office/drawing/2014/chart" uri="{C3380CC4-5D6E-409C-BE32-E72D297353CC}">
              <c16:uniqueId val="{00000000-096C-4121-9522-6AB7243CCAAE}"/>
            </c:ext>
          </c:extLst>
        </c:ser>
        <c:ser>
          <c:idx val="1"/>
          <c:order val="1"/>
          <c:tx>
            <c:strRef>
              <c:f>Sheet1!$B$4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8:$A$99</c:f>
              <c:numCache>
                <c:formatCode>General</c:formatCode>
                <c:ptCount val="52"/>
                <c:pt idx="0">
                  <c:v>0.43034772625557</c:v>
                </c:pt>
                <c:pt idx="1">
                  <c:v>0.4321242313380556</c:v>
                </c:pt>
                <c:pt idx="2">
                  <c:v>0.4413201268754014</c:v>
                </c:pt>
                <c:pt idx="3">
                  <c:v>0.43769825053028977</c:v>
                </c:pt>
                <c:pt idx="4">
                  <c:v>0.4385995640666355</c:v>
                </c:pt>
                <c:pt idx="5">
                  <c:v>0.44181340597334373</c:v>
                </c:pt>
                <c:pt idx="6">
                  <c:v>0.4381677012590243</c:v>
                </c:pt>
                <c:pt idx="7">
                  <c:v>0.45102962357429244</c:v>
                </c:pt>
                <c:pt idx="8">
                  <c:v>0.4508308362843912</c:v>
                </c:pt>
                <c:pt idx="9">
                  <c:v>0.44078319936160687</c:v>
                </c:pt>
                <c:pt idx="10">
                  <c:v>0.4399237250209172</c:v>
                </c:pt>
                <c:pt idx="11">
                  <c:v>0.43109788128173704</c:v>
                </c:pt>
                <c:pt idx="12">
                  <c:v>0.4101142178895958</c:v>
                </c:pt>
                <c:pt idx="13">
                  <c:v>0.4431209980342929</c:v>
                </c:pt>
                <c:pt idx="14">
                  <c:v>0.4408382464537972</c:v>
                </c:pt>
                <c:pt idx="15">
                  <c:v>0.4412359900373599</c:v>
                </c:pt>
                <c:pt idx="16">
                  <c:v>0.4382042150738513</c:v>
                </c:pt>
                <c:pt idx="17">
                  <c:v>0.43125960808733393</c:v>
                </c:pt>
                <c:pt idx="18">
                  <c:v>0.415393894585287</c:v>
                </c:pt>
                <c:pt idx="19">
                  <c:v>0.42311434576165646</c:v>
                </c:pt>
                <c:pt idx="20">
                  <c:v>0.43254392963474675</c:v>
                </c:pt>
                <c:pt idx="21">
                  <c:v>0.44102134947356125</c:v>
                </c:pt>
                <c:pt idx="22">
                  <c:v>0.43983345979493765</c:v>
                </c:pt>
                <c:pt idx="23">
                  <c:v>0.42312930464220394</c:v>
                </c:pt>
                <c:pt idx="24">
                  <c:v>0.406389229362439</c:v>
                </c:pt>
                <c:pt idx="25">
                  <c:v>0.4125980268150772</c:v>
                </c:pt>
                <c:pt idx="26">
                  <c:v>0.41088107098381077</c:v>
                </c:pt>
                <c:pt idx="27">
                  <c:v>0.4052265960965928</c:v>
                </c:pt>
                <c:pt idx="28">
                  <c:v>0.43771646495699884</c:v>
                </c:pt>
                <c:pt idx="29">
                  <c:v>0.43612197637534783</c:v>
                </c:pt>
                <c:pt idx="30">
                  <c:v>0.4293413756201965</c:v>
                </c:pt>
                <c:pt idx="31">
                  <c:v>0.42730917441905725</c:v>
                </c:pt>
                <c:pt idx="32">
                  <c:v>0.43053366797019393</c:v>
                </c:pt>
                <c:pt idx="33">
                  <c:v>0.4527339949406499</c:v>
                </c:pt>
                <c:pt idx="34">
                  <c:v>0.427590098855764</c:v>
                </c:pt>
                <c:pt idx="35">
                  <c:v>0.4157618213660245</c:v>
                </c:pt>
                <c:pt idx="36">
                  <c:v>0.40804452314697703</c:v>
                </c:pt>
                <c:pt idx="37">
                  <c:v>0.4049162141647691</c:v>
                </c:pt>
                <c:pt idx="38">
                  <c:v>0.43008095275161523</c:v>
                </c:pt>
                <c:pt idx="39">
                  <c:v>0.428599229362083</c:v>
                </c:pt>
                <c:pt idx="40">
                  <c:v>0.40261155545176797</c:v>
                </c:pt>
                <c:pt idx="41">
                  <c:v>0.38910505836575876</c:v>
                </c:pt>
                <c:pt idx="42">
                  <c:v>0.37607270038335056</c:v>
                </c:pt>
                <c:pt idx="43">
                  <c:v>0.3773107608484141</c:v>
                </c:pt>
                <c:pt idx="44">
                  <c:v>0.39545790682286996</c:v>
                </c:pt>
                <c:pt idx="45">
                  <c:v>0.40810368986454926</c:v>
                </c:pt>
                <c:pt idx="46">
                  <c:v>0.3832681417479129</c:v>
                </c:pt>
                <c:pt idx="47">
                  <c:v>0.34802996400428055</c:v>
                </c:pt>
                <c:pt idx="48">
                  <c:v>0.35376228949673905</c:v>
                </c:pt>
                <c:pt idx="49">
                  <c:v>0.3481779801163447</c:v>
                </c:pt>
                <c:pt idx="50">
                  <c:v>0.39962640826571705</c:v>
                </c:pt>
                <c:pt idx="51">
                  <c:v>0.4081878855096997</c:v>
                </c:pt>
              </c:numCache>
            </c:numRef>
          </c:xVal>
          <c:yVal>
            <c:numRef>
              <c:f>Sheet1!$B$48:$B$99</c:f>
              <c:numCache>
                <c:formatCode>General</c:formatCode>
                <c:ptCount val="52"/>
                <c:pt idx="0">
                  <c:v>0.09595287983197304</c:v>
                </c:pt>
                <c:pt idx="1">
                  <c:v>0.09309278109730414</c:v>
                </c:pt>
                <c:pt idx="2">
                  <c:v>0.06617859537390408</c:v>
                </c:pt>
                <c:pt idx="3">
                  <c:v>0.0807005221724716</c:v>
                </c:pt>
                <c:pt idx="4">
                  <c:v>0.11163072602442557</c:v>
                </c:pt>
                <c:pt idx="5">
                  <c:v>0.07724748727348385</c:v>
                </c:pt>
                <c:pt idx="6">
                  <c:v>0.09324251110195274</c:v>
                </c:pt>
                <c:pt idx="7">
                  <c:v>0.08206234525895145</c:v>
                </c:pt>
                <c:pt idx="8">
                  <c:v>0.08726325583284571</c:v>
                </c:pt>
                <c:pt idx="9">
                  <c:v>0.08251353820488037</c:v>
                </c:pt>
                <c:pt idx="10">
                  <c:v>0.08505029924869477</c:v>
                </c:pt>
                <c:pt idx="11">
                  <c:v>0.09796697826301178</c:v>
                </c:pt>
                <c:pt idx="12">
                  <c:v>0.09130194459527566</c:v>
                </c:pt>
                <c:pt idx="13">
                  <c:v>0.08995370427876093</c:v>
                </c:pt>
                <c:pt idx="14">
                  <c:v>0.08747358038607862</c:v>
                </c:pt>
                <c:pt idx="15">
                  <c:v>0.08306071341393326</c:v>
                </c:pt>
                <c:pt idx="16">
                  <c:v>0.08934581444031038</c:v>
                </c:pt>
                <c:pt idx="17">
                  <c:v>0.09026844267775477</c:v>
                </c:pt>
                <c:pt idx="18">
                  <c:v>0.09377091451360803</c:v>
                </c:pt>
                <c:pt idx="19">
                  <c:v>0.08806148660971158</c:v>
                </c:pt>
                <c:pt idx="20">
                  <c:v>0.08806174709658804</c:v>
                </c:pt>
                <c:pt idx="21">
                  <c:v>0.08340052021318195</c:v>
                </c:pt>
                <c:pt idx="22">
                  <c:v>0.07785760715128018</c:v>
                </c:pt>
                <c:pt idx="23">
                  <c:v>0.09151948025993152</c:v>
                </c:pt>
                <c:pt idx="24">
                  <c:v>0.0872886275970746</c:v>
                </c:pt>
                <c:pt idx="25">
                  <c:v>0.08768610653194969</c:v>
                </c:pt>
                <c:pt idx="26">
                  <c:v>0.07655538658128337</c:v>
                </c:pt>
                <c:pt idx="27">
                  <c:v>0.08727628551295281</c:v>
                </c:pt>
                <c:pt idx="28">
                  <c:v>0.09040856683965845</c:v>
                </c:pt>
                <c:pt idx="29">
                  <c:v>0.09274160524944107</c:v>
                </c:pt>
                <c:pt idx="30">
                  <c:v>0.08696801498503767</c:v>
                </c:pt>
                <c:pt idx="31">
                  <c:v>0.08095927699694141</c:v>
                </c:pt>
                <c:pt idx="32">
                  <c:v>0.07849696342817634</c:v>
                </c:pt>
                <c:pt idx="33">
                  <c:v>0.08579762055153861</c:v>
                </c:pt>
                <c:pt idx="34">
                  <c:v>0.09038130321733102</c:v>
                </c:pt>
                <c:pt idx="35">
                  <c:v>0.09141816898675949</c:v>
                </c:pt>
                <c:pt idx="36">
                  <c:v>0.06789309647198916</c:v>
                </c:pt>
                <c:pt idx="37">
                  <c:v>0.09422090936782478</c:v>
                </c:pt>
                <c:pt idx="38">
                  <c:v>0.06490910215520942</c:v>
                </c:pt>
                <c:pt idx="39">
                  <c:v>0.09418245733140403</c:v>
                </c:pt>
                <c:pt idx="40">
                  <c:v>0.08549027168586623</c:v>
                </c:pt>
                <c:pt idx="41">
                  <c:v>0.0819216061319728</c:v>
                </c:pt>
                <c:pt idx="42">
                  <c:v>0.09343967092154053</c:v>
                </c:pt>
                <c:pt idx="43">
                  <c:v>0.09151636405950295</c:v>
                </c:pt>
                <c:pt idx="44">
                  <c:v>0.08448649794584345</c:v>
                </c:pt>
                <c:pt idx="45">
                  <c:v>0.0829750681686038</c:v>
                </c:pt>
                <c:pt idx="46">
                  <c:v>0.09356579862654749</c:v>
                </c:pt>
                <c:pt idx="47">
                  <c:v>0.08484861746278345</c:v>
                </c:pt>
                <c:pt idx="48">
                  <c:v>0.08724532228708723</c:v>
                </c:pt>
                <c:pt idx="49">
                  <c:v>0.08743823415046044</c:v>
                </c:pt>
                <c:pt idx="50">
                  <c:v>0.09318356788959194</c:v>
                </c:pt>
                <c:pt idx="51">
                  <c:v>0.08021120720517598</c:v>
                </c:pt>
              </c:numCache>
            </c:numRef>
          </c:yVal>
          <c:smooth val="0"/>
          <c:extLst>
            <c:ext xmlns:c16="http://schemas.microsoft.com/office/drawing/2014/chart" uri="{C3380CC4-5D6E-409C-BE32-E72D297353CC}">
              <c16:uniqueId val="{00000002-096C-4121-9522-6AB7243CCAAE}"/>
            </c:ext>
          </c:extLst>
        </c:ser>
        <c:ser>
          <c:idx val="2"/>
          <c:order val="2"/>
          <c:tx>
            <c:strRef>
              <c:f>Sheet1!$B$10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2:$A$103</c:f>
              <c:numCache>
                <c:formatCode>General</c:formatCode>
                <c:ptCount val="2"/>
                <c:pt idx="0">
                  <c:v>0</c:v>
                </c:pt>
                <c:pt idx="1">
                  <c:v>-0.05317562265318544</c:v>
                </c:pt>
              </c:numCache>
            </c:numRef>
          </c:xVal>
          <c:yVal>
            <c:numRef>
              <c:f>Sheet1!$B$102:$B$103</c:f>
              <c:numCache>
                <c:formatCode>General</c:formatCode>
                <c:ptCount val="2"/>
                <c:pt idx="0">
                  <c:v>0.09740835367204023</c:v>
                </c:pt>
                <c:pt idx="1">
                  <c:v>0.09740835367204023</c:v>
                </c:pt>
              </c:numCache>
            </c:numRef>
          </c:yVal>
          <c:smooth val="0"/>
          <c:extLst>
            <c:ext xmlns:c16="http://schemas.microsoft.com/office/drawing/2014/chart" uri="{C3380CC4-5D6E-409C-BE32-E72D297353CC}">
              <c16:uniqueId val="{00000005-096C-4121-9522-6AB7243CCAAE}"/>
            </c:ext>
          </c:extLst>
        </c:ser>
        <c:ser>
          <c:idx val="3"/>
          <c:order val="3"/>
          <c:tx>
            <c:strRef>
              <c:f>Sheet1!$B$10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6:$A$107</c:f>
              <c:numCache>
                <c:formatCode>General</c:formatCode>
                <c:ptCount val="2"/>
                <c:pt idx="0">
                  <c:v>-0.05317562265318544</c:v>
                </c:pt>
                <c:pt idx="1">
                  <c:v>-0.05317562265318544</c:v>
                </c:pt>
              </c:numCache>
            </c:numRef>
          </c:xVal>
          <c:yVal>
            <c:numRef>
              <c:f>Sheet1!$B$106:$B$107</c:f>
              <c:numCache>
                <c:formatCode>General</c:formatCode>
                <c:ptCount val="2"/>
                <c:pt idx="0">
                  <c:v>0.097408353672040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0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10:$A$111</c:f>
              <c:numCache>
                <c:formatCode>General</c:formatCode>
                <c:ptCount val="2"/>
                <c:pt idx="0">
                  <c:v>0</c:v>
                </c:pt>
                <c:pt idx="1">
                  <c:v>0.36286516262068064</c:v>
                </c:pt>
              </c:numCache>
            </c:numRef>
          </c:xVal>
          <c:yVal>
            <c:numRef>
              <c:f>Sheet1!$B$110:$B$111</c:f>
              <c:numCache>
                <c:formatCode>General</c:formatCode>
                <c:ptCount val="2"/>
                <c:pt idx="0">
                  <c:v>0.08801568186762883</c:v>
                </c:pt>
                <c:pt idx="1">
                  <c:v>0.08801568186762883</c:v>
                </c:pt>
              </c:numCache>
            </c:numRef>
          </c:yVal>
          <c:smooth val="0"/>
          <c:extLst>
            <c:ext xmlns:c16="http://schemas.microsoft.com/office/drawing/2014/chart" uri="{C3380CC4-5D6E-409C-BE32-E72D297353CC}">
              <c16:uniqueId val="{0000000D-096C-4121-9522-6AB7243CCAAE}"/>
            </c:ext>
          </c:extLst>
        </c:ser>
        <c:ser>
          <c:idx val="5"/>
          <c:order val="5"/>
          <c:tx>
            <c:strRef>
              <c:f>Sheet1!$B$11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14:$A$115</c:f>
              <c:numCache>
                <c:formatCode>General</c:formatCode>
                <c:ptCount val="2"/>
                <c:pt idx="0">
                  <c:v>0.36286516262068064</c:v>
                </c:pt>
                <c:pt idx="1">
                  <c:v>0.36286516262068064</c:v>
                </c:pt>
              </c:numCache>
            </c:numRef>
          </c:xVal>
          <c:yVal>
            <c:numRef>
              <c:f>Sheet1!$B$114:$B$115</c:f>
              <c:numCache>
                <c:formatCode>General</c:formatCode>
                <c:ptCount val="2"/>
                <c:pt idx="0">
                  <c:v>0.0880156818676288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1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18:$A$119</c:f>
              <c:numCache>
                <c:formatCode>General</c:formatCode>
                <c:ptCount val="2"/>
                <c:pt idx="0">
                  <c:v>0</c:v>
                </c:pt>
                <c:pt idx="1">
                  <c:v>0.37546917788063205</c:v>
                </c:pt>
              </c:numCache>
            </c:numRef>
          </c:xVal>
          <c:yVal>
            <c:numRef>
              <c:f>Sheet1!$B$118:$B$119</c:f>
              <c:numCache>
                <c:formatCode>General</c:formatCode>
                <c:ptCount val="2"/>
                <c:pt idx="0">
                  <c:v>0.0877311295281831</c:v>
                </c:pt>
                <c:pt idx="1">
                  <c:v>0.0877311295281831</c:v>
                </c:pt>
              </c:numCache>
            </c:numRef>
          </c:yVal>
          <c:smooth val="0"/>
          <c:extLst>
            <c:ext xmlns:c16="http://schemas.microsoft.com/office/drawing/2014/chart" uri="{C3380CC4-5D6E-409C-BE32-E72D297353CC}">
              <c16:uniqueId val="{00000015-096C-4121-9522-6AB7243CCAAE}"/>
            </c:ext>
          </c:extLst>
        </c:ser>
        <c:ser>
          <c:idx val="7"/>
          <c:order val="7"/>
          <c:tx>
            <c:strRef>
              <c:f>Sheet1!$B$12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2:$A$123</c:f>
              <c:numCache>
                <c:formatCode>General</c:formatCode>
                <c:ptCount val="2"/>
                <c:pt idx="0">
                  <c:v>0.37546917788063205</c:v>
                </c:pt>
                <c:pt idx="1">
                  <c:v>0.37546917788063205</c:v>
                </c:pt>
              </c:numCache>
            </c:numRef>
          </c:xVal>
          <c:yVal>
            <c:numRef>
              <c:f>Sheet1!$B$122:$B$123</c:f>
              <c:numCache>
                <c:formatCode>General</c:formatCode>
                <c:ptCount val="2"/>
                <c:pt idx="0">
                  <c:v>0.087731129528183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2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26:$A$180</c:f>
              <c:numCache>
                <c:formatCode>General</c:formatCode>
                <c:ptCount val="55"/>
                <c:pt idx="0">
                  <c:v>0.43034772625557</c:v>
                </c:pt>
                <c:pt idx="1">
                  <c:v>0.4321242313380556</c:v>
                </c:pt>
                <c:pt idx="2">
                  <c:v>0.4413201268754014</c:v>
                </c:pt>
                <c:pt idx="3">
                  <c:v>0.43769825053028977</c:v>
                </c:pt>
                <c:pt idx="4">
                  <c:v>0.4385995640666355</c:v>
                </c:pt>
                <c:pt idx="5">
                  <c:v>0.44181340597334373</c:v>
                </c:pt>
                <c:pt idx="6">
                  <c:v>0.4381677012590243</c:v>
                </c:pt>
                <c:pt idx="7">
                  <c:v>0.45102962357429244</c:v>
                </c:pt>
                <c:pt idx="8">
                  <c:v>0.4508308362843912</c:v>
                </c:pt>
                <c:pt idx="9">
                  <c:v>0.44078319936160687</c:v>
                </c:pt>
                <c:pt idx="10">
                  <c:v>0.4399237250209172</c:v>
                </c:pt>
                <c:pt idx="11">
                  <c:v>0.43109788128173704</c:v>
                </c:pt>
                <c:pt idx="12">
                  <c:v>0.4101142178895958</c:v>
                </c:pt>
                <c:pt idx="13">
                  <c:v>0.4431209980342929</c:v>
                </c:pt>
                <c:pt idx="14">
                  <c:v>0.4408382464537972</c:v>
                </c:pt>
                <c:pt idx="15">
                  <c:v>0.4412359900373599</c:v>
                </c:pt>
                <c:pt idx="16">
                  <c:v>0.4382042150738513</c:v>
                </c:pt>
                <c:pt idx="17">
                  <c:v>0.43125960808733393</c:v>
                </c:pt>
                <c:pt idx="18">
                  <c:v>0.415393894585287</c:v>
                </c:pt>
                <c:pt idx="19">
                  <c:v>0.42311434576165646</c:v>
                </c:pt>
                <c:pt idx="20">
                  <c:v>0.43254392963474675</c:v>
                </c:pt>
                <c:pt idx="21">
                  <c:v>0.44102134947356125</c:v>
                </c:pt>
                <c:pt idx="22">
                  <c:v>0.43983345979493765</c:v>
                </c:pt>
                <c:pt idx="23">
                  <c:v>0.42312930464220394</c:v>
                </c:pt>
                <c:pt idx="24">
                  <c:v>0.406389229362439</c:v>
                </c:pt>
                <c:pt idx="25">
                  <c:v>0.4125980268150772</c:v>
                </c:pt>
                <c:pt idx="26">
                  <c:v>0.41088107098381077</c:v>
                </c:pt>
                <c:pt idx="27">
                  <c:v>0.4052265960965928</c:v>
                </c:pt>
                <c:pt idx="28">
                  <c:v>0.43771646495699884</c:v>
                </c:pt>
                <c:pt idx="29">
                  <c:v>0.43612197637534783</c:v>
                </c:pt>
                <c:pt idx="30">
                  <c:v>0.4293413756201965</c:v>
                </c:pt>
                <c:pt idx="31">
                  <c:v>0.42730917441905725</c:v>
                </c:pt>
                <c:pt idx="32">
                  <c:v>0.43053366797019393</c:v>
                </c:pt>
                <c:pt idx="33">
                  <c:v>0.4527339949406499</c:v>
                </c:pt>
                <c:pt idx="34">
                  <c:v>0.427590098855764</c:v>
                </c:pt>
                <c:pt idx="35">
                  <c:v>0.4157618213660245</c:v>
                </c:pt>
                <c:pt idx="36">
                  <c:v>0.40804452314697703</c:v>
                </c:pt>
                <c:pt idx="37">
                  <c:v>0.4049162141647691</c:v>
                </c:pt>
                <c:pt idx="38">
                  <c:v>0.43008095275161523</c:v>
                </c:pt>
                <c:pt idx="39">
                  <c:v>0.428599229362083</c:v>
                </c:pt>
                <c:pt idx="40">
                  <c:v>0.40261155545176797</c:v>
                </c:pt>
                <c:pt idx="41">
                  <c:v>0.38910505836575876</c:v>
                </c:pt>
                <c:pt idx="42">
                  <c:v>0.37607270038335056</c:v>
                </c:pt>
                <c:pt idx="43">
                  <c:v>0.3773107608484141</c:v>
                </c:pt>
                <c:pt idx="44">
                  <c:v>0.39545790682286996</c:v>
                </c:pt>
                <c:pt idx="45">
                  <c:v>0.40810368986454926</c:v>
                </c:pt>
                <c:pt idx="46">
                  <c:v>0.3832681417479129</c:v>
                </c:pt>
                <c:pt idx="47">
                  <c:v>0.34802996400428055</c:v>
                </c:pt>
                <c:pt idx="48">
                  <c:v>0.35376228949673905</c:v>
                </c:pt>
                <c:pt idx="49">
                  <c:v>0.3481779801163447</c:v>
                </c:pt>
                <c:pt idx="50">
                  <c:v>0.39962640826571705</c:v>
                </c:pt>
                <c:pt idx="51">
                  <c:v>0.4081878855096997</c:v>
                </c:pt>
                <c:pt idx="52">
                  <c:v>0.36286516262068064</c:v>
                </c:pt>
                <c:pt idx="53">
                  <c:v>-0.05317562265318544</c:v>
                </c:pt>
                <c:pt idx="54">
                  <c:v>0.37546917788063205</c:v>
                </c:pt>
              </c:numCache>
            </c:numRef>
          </c:xVal>
          <c:yVal>
            <c:numRef>
              <c:f>Sheet1!$B$126:$B$180</c:f>
              <c:numCache>
                <c:formatCode>General</c:formatCode>
                <c:ptCount val="55"/>
                <c:pt idx="0">
                  <c:v>0.08649217360791438</c:v>
                </c:pt>
                <c:pt idx="1">
                  <c:v>0.08645206665256462</c:v>
                </c:pt>
                <c:pt idx="2">
                  <c:v>0.08624445713016386</c:v>
                </c:pt>
                <c:pt idx="3">
                  <c:v>0.0863262257860984</c:v>
                </c:pt>
                <c:pt idx="4">
                  <c:v>0.08630587743915882</c:v>
                </c:pt>
                <c:pt idx="5">
                  <c:v>0.08623332070114309</c:v>
                </c:pt>
                <c:pt idx="6">
                  <c:v>0.08631562731407494</c:v>
                </c:pt>
                <c:pt idx="7">
                  <c:v>0.08602525238123843</c:v>
                </c:pt>
                <c:pt idx="8">
                  <c:v>0.08602974026761645</c:v>
                </c:pt>
                <c:pt idx="9">
                  <c:v>0.08625657897998806</c:v>
                </c:pt>
                <c:pt idx="10">
                  <c:v>0.08627598275166659</c:v>
                </c:pt>
                <c:pt idx="11">
                  <c:v>0.08647523786456272</c:v>
                </c:pt>
                <c:pt idx="12">
                  <c:v>0.08694897186005762</c:v>
                </c:pt>
                <c:pt idx="13">
                  <c:v>0.08620380007836458</c:v>
                </c:pt>
                <c:pt idx="14">
                  <c:v>0.08625533621896792</c:v>
                </c:pt>
                <c:pt idx="15">
                  <c:v>0.08624635663072813</c:v>
                </c:pt>
                <c:pt idx="16">
                  <c:v>0.08631480296633996</c:v>
                </c:pt>
                <c:pt idx="17">
                  <c:v>0.08647158666770724</c:v>
                </c:pt>
                <c:pt idx="18">
                  <c:v>0.08682977616532932</c:v>
                </c:pt>
                <c:pt idx="19">
                  <c:v>0.08665547675371302</c:v>
                </c:pt>
                <c:pt idx="20">
                  <c:v>0.08644259140759532</c:v>
                </c:pt>
                <c:pt idx="21">
                  <c:v>0.08625120242576322</c:v>
                </c:pt>
                <c:pt idx="22">
                  <c:v>0.08627802060870607</c:v>
                </c:pt>
                <c:pt idx="23">
                  <c:v>0.08665513903717051</c:v>
                </c:pt>
                <c:pt idx="24">
                  <c:v>0.08703306841008156</c:v>
                </c:pt>
                <c:pt idx="25">
                  <c:v>0.08689289658357588</c:v>
                </c:pt>
                <c:pt idx="26">
                  <c:v>0.08693165913570197</c:v>
                </c:pt>
                <c:pt idx="27">
                  <c:v>0.08705931639605197</c:v>
                </c:pt>
                <c:pt idx="28">
                  <c:v>0.08632581457128909</c:v>
                </c:pt>
                <c:pt idx="29">
                  <c:v>0.08636181226303816</c:v>
                </c:pt>
                <c:pt idx="30">
                  <c:v>0.08651489330649392</c:v>
                </c:pt>
                <c:pt idx="31">
                  <c:v>0.08656077294041074</c:v>
                </c:pt>
                <c:pt idx="32">
                  <c:v>0.08648797572741315</c:v>
                </c:pt>
                <c:pt idx="33">
                  <c:v>0.08598677394007671</c:v>
                </c:pt>
                <c:pt idx="34">
                  <c:v>0.08655443069914685</c:v>
                </c:pt>
                <c:pt idx="35">
                  <c:v>0.08682146973090789</c:v>
                </c:pt>
                <c:pt idx="36">
                  <c:v>0.08699569796033632</c:v>
                </c:pt>
                <c:pt idx="37">
                  <c:v>0.08706632367928675</c:v>
                </c:pt>
                <c:pt idx="38">
                  <c:v>0.08649819637312743</c:v>
                </c:pt>
                <c:pt idx="39">
                  <c:v>0.08653164824129857</c:v>
                </c:pt>
                <c:pt idx="40">
                  <c:v>0.08711835440242402</c:v>
                </c:pt>
                <c:pt idx="41">
                  <c:v>0.08742328146449707</c:v>
                </c:pt>
                <c:pt idx="42">
                  <c:v>0.08771750420827394</c:v>
                </c:pt>
                <c:pt idx="43">
                  <c:v>0.0876895533533723</c:v>
                </c:pt>
                <c:pt idx="44">
                  <c:v>0.08727985749575919</c:v>
                </c:pt>
                <c:pt idx="45">
                  <c:v>0.08699436219331642</c:v>
                </c:pt>
                <c:pt idx="46">
                  <c:v>0.0875550575885736</c:v>
                </c:pt>
                <c:pt idx="47">
                  <c:v>0.0883506061267141</c:v>
                </c:pt>
                <c:pt idx="48">
                  <c:v>0.0882211912858319</c:v>
                </c:pt>
                <c:pt idx="49">
                  <c:v>0.08834726446692594</c:v>
                </c:pt>
                <c:pt idx="50">
                  <c:v>0.0871857480541978</c:v>
                </c:pt>
                <c:pt idx="51">
                  <c:v>0.08699246136510377</c:v>
                </c:pt>
                <c:pt idx="52">
                  <c:v>0.08801568186762883</c:v>
                </c:pt>
                <c:pt idx="53">
                  <c:v>0.09740835367204023</c:v>
                </c:pt>
                <c:pt idx="54">
                  <c:v>0.087731129528183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La Fageda</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3656579700662466"/>
          <c:min val="0.05192728172416754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45</c:f>
              <c:numCache>
                <c:formatCode>General</c:formatCode>
                <c:ptCount val="44"/>
                <c:pt idx="0">
                  <c:v>2.6867</c:v>
                </c:pt>
                <c:pt idx="1">
                  <c:v>2.6867</c:v>
                </c:pt>
                <c:pt idx="2">
                  <c:v>2.6866</c:v>
                </c:pt>
                <c:pt idx="3">
                  <c:v>2.6868</c:v>
                </c:pt>
                <c:pt idx="4">
                  <c:v>2.6867</c:v>
                </c:pt>
                <c:pt idx="5">
                  <c:v>2.6867</c:v>
                </c:pt>
                <c:pt idx="6">
                  <c:v>2.6867</c:v>
                </c:pt>
                <c:pt idx="7">
                  <c:v>2.6868</c:v>
                </c:pt>
                <c:pt idx="8">
                  <c:v>2.6867</c:v>
                </c:pt>
                <c:pt idx="9">
                  <c:v>2.6868</c:v>
                </c:pt>
                <c:pt idx="10">
                  <c:v>2.6867</c:v>
                </c:pt>
                <c:pt idx="11">
                  <c:v>2.6867</c:v>
                </c:pt>
                <c:pt idx="12">
                  <c:v>2.6868</c:v>
                </c:pt>
                <c:pt idx="13">
                  <c:v>2.6866</c:v>
                </c:pt>
                <c:pt idx="14">
                  <c:v>2.6866</c:v>
                </c:pt>
                <c:pt idx="15">
                  <c:v>2.6867</c:v>
                </c:pt>
                <c:pt idx="16">
                  <c:v>2.6867</c:v>
                </c:pt>
                <c:pt idx="17">
                  <c:v>2.6868</c:v>
                </c:pt>
                <c:pt idx="18">
                  <c:v>2.6868</c:v>
                </c:pt>
                <c:pt idx="19">
                  <c:v>2.6867</c:v>
                </c:pt>
                <c:pt idx="20">
                  <c:v>2.6867</c:v>
                </c:pt>
                <c:pt idx="21">
                  <c:v>2.6867</c:v>
                </c:pt>
                <c:pt idx="22">
                  <c:v>2.6867</c:v>
                </c:pt>
                <c:pt idx="23">
                  <c:v>2.6867</c:v>
                </c:pt>
                <c:pt idx="24">
                  <c:v>2.6867</c:v>
                </c:pt>
                <c:pt idx="25">
                  <c:v>2.6867</c:v>
                </c:pt>
                <c:pt idx="26">
                  <c:v>2.6867</c:v>
                </c:pt>
                <c:pt idx="27">
                  <c:v>2.6867</c:v>
                </c:pt>
                <c:pt idx="28">
                  <c:v>2.6867</c:v>
                </c:pt>
                <c:pt idx="29">
                  <c:v>2.6868</c:v>
                </c:pt>
                <c:pt idx="30">
                  <c:v>2.6867</c:v>
                </c:pt>
                <c:pt idx="31">
                  <c:v>2.6867</c:v>
                </c:pt>
                <c:pt idx="32">
                  <c:v>2.6867</c:v>
                </c:pt>
                <c:pt idx="33">
                  <c:v>2.6867</c:v>
                </c:pt>
                <c:pt idx="34">
                  <c:v>2.6868</c:v>
                </c:pt>
                <c:pt idx="35">
                  <c:v>2.6867</c:v>
                </c:pt>
                <c:pt idx="36">
                  <c:v>2.6866</c:v>
                </c:pt>
                <c:pt idx="37">
                  <c:v>2.6867</c:v>
                </c:pt>
                <c:pt idx="38">
                  <c:v>2.6868</c:v>
                </c:pt>
                <c:pt idx="39">
                  <c:v>2.6867</c:v>
                </c:pt>
                <c:pt idx="40">
                  <c:v>2.6867</c:v>
                </c:pt>
                <c:pt idx="41">
                  <c:v>2.6867</c:v>
                </c:pt>
                <c:pt idx="42">
                  <c:v>2.6867</c:v>
                </c:pt>
                <c:pt idx="43">
                  <c:v>2.6868</c:v>
                </c:pt>
              </c:numCache>
            </c:numRef>
          </c:xVal>
          <c:yVal>
            <c:numRef>
              <c:f>Sheet1!$B$2:$B$45</c:f>
              <c:numCache>
                <c:formatCode>General</c:formatCode>
                <c:ptCount val="44"/>
                <c:pt idx="0">
                  <c:v>0.7181559646759467</c:v>
                </c:pt>
                <c:pt idx="1">
                  <c:v>0.7240837835679876</c:v>
                </c:pt>
                <c:pt idx="2">
                  <c:v>0.770692494899088</c:v>
                </c:pt>
                <c:pt idx="3">
                  <c:v>0.7197641874590603</c:v>
                </c:pt>
                <c:pt idx="4">
                  <c:v>0.7546499530564085</c:v>
                </c:pt>
                <c:pt idx="5">
                  <c:v>0.7565416709591016</c:v>
                </c:pt>
                <c:pt idx="6">
                  <c:v>0.7435408061529697</c:v>
                </c:pt>
                <c:pt idx="7">
                  <c:v>0.7110051089563132</c:v>
                </c:pt>
                <c:pt idx="8">
                  <c:v>0.7246480213089802</c:v>
                </c:pt>
                <c:pt idx="9">
                  <c:v>0.7072067070123813</c:v>
                </c:pt>
                <c:pt idx="10">
                  <c:v>0.7122765472030497</c:v>
                </c:pt>
                <c:pt idx="11">
                  <c:v>0.7179212817027676</c:v>
                </c:pt>
                <c:pt idx="12">
                  <c:v>0.7281744929146985</c:v>
                </c:pt>
                <c:pt idx="13">
                  <c:v>0.7474097554052136</c:v>
                </c:pt>
                <c:pt idx="14">
                  <c:v>0.7401165396683101</c:v>
                </c:pt>
                <c:pt idx="15">
                  <c:v>0.7371900826446282</c:v>
                </c:pt>
                <c:pt idx="16">
                  <c:v>0.6968920668881257</c:v>
                </c:pt>
                <c:pt idx="17">
                  <c:v>0.7420756422593532</c:v>
                </c:pt>
                <c:pt idx="18">
                  <c:v>0.7619813263377619</c:v>
                </c:pt>
                <c:pt idx="19">
                  <c:v>0.7392484016840792</c:v>
                </c:pt>
                <c:pt idx="20">
                  <c:v>0.7798173600221382</c:v>
                </c:pt>
                <c:pt idx="21">
                  <c:v>0.7472183239775461</c:v>
                </c:pt>
                <c:pt idx="22">
                  <c:v>0.7361861354940356</c:v>
                </c:pt>
                <c:pt idx="23">
                  <c:v>0.7737013543631065</c:v>
                </c:pt>
                <c:pt idx="24">
                  <c:v>0.7743241764255226</c:v>
                </c:pt>
                <c:pt idx="25">
                  <c:v>0.7314823412882657</c:v>
                </c:pt>
                <c:pt idx="26">
                  <c:v>0.7360596506570317</c:v>
                </c:pt>
                <c:pt idx="27">
                  <c:v>0.6843659797274619</c:v>
                </c:pt>
                <c:pt idx="28">
                  <c:v>0.7197692186100427</c:v>
                </c:pt>
                <c:pt idx="29">
                  <c:v>0.7058493914017994</c:v>
                </c:pt>
                <c:pt idx="30">
                  <c:v>0.725185903653411</c:v>
                </c:pt>
                <c:pt idx="31">
                  <c:v>0.7305941023417173</c:v>
                </c:pt>
                <c:pt idx="32">
                  <c:v>0.7413191649224494</c:v>
                </c:pt>
                <c:pt idx="33">
                  <c:v>0.6548130943787075</c:v>
                </c:pt>
                <c:pt idx="34">
                  <c:v>0.7243389864881994</c:v>
                </c:pt>
                <c:pt idx="35">
                  <c:v>0.7252943095961244</c:v>
                </c:pt>
                <c:pt idx="36">
                  <c:v>0.7504909693828273</c:v>
                </c:pt>
                <c:pt idx="37">
                  <c:v>0.7197731509438916</c:v>
                </c:pt>
                <c:pt idx="38">
                  <c:v>0.7272605168430667</c:v>
                </c:pt>
                <c:pt idx="39">
                  <c:v>0.7475074775672981</c:v>
                </c:pt>
                <c:pt idx="40">
                  <c:v>0.7380187963341311</c:v>
                </c:pt>
                <c:pt idx="41">
                  <c:v>0.7539144857054507</c:v>
                </c:pt>
                <c:pt idx="42">
                  <c:v>0.7616389069817934</c:v>
                </c:pt>
                <c:pt idx="43">
                  <c:v>0.7662033739647138</c:v>
                </c:pt>
              </c:numCache>
            </c:numRef>
          </c:yVal>
          <c:smooth val="0"/>
          <c:extLst>
            <c:ext xmlns:c16="http://schemas.microsoft.com/office/drawing/2014/chart" uri="{C3380CC4-5D6E-409C-BE32-E72D297353CC}">
              <c16:uniqueId val="{00000000-F32D-48B7-BC20-E66FC6253BAD}"/>
            </c:ext>
          </c:extLst>
        </c:ser>
        <c:ser>
          <c:idx val="1"/>
          <c:order val="1"/>
          <c:tx>
            <c:strRef>
              <c:f>Sheet1!$B$4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8:$A$99</c:f>
              <c:numCache>
                <c:formatCode>General</c:formatCode>
                <c:ptCount val="52"/>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numCache>
            </c:numRef>
          </c:xVal>
          <c:yVal>
            <c:numRef>
              <c:f>Sheet1!$B$48:$B$99</c:f>
              <c:numCache>
                <c:formatCode>General</c:formatCode>
                <c:ptCount val="52"/>
                <c:pt idx="0">
                  <c:v>0.7804529997571047</c:v>
                </c:pt>
                <c:pt idx="1">
                  <c:v>0.7675140293258166</c:v>
                </c:pt>
                <c:pt idx="2">
                  <c:v>0.7579610349933021</c:v>
                </c:pt>
                <c:pt idx="3">
                  <c:v>0.7186430710008554</c:v>
                </c:pt>
                <c:pt idx="4">
                  <c:v>0.7869671475225469</c:v>
                </c:pt>
                <c:pt idx="5">
                  <c:v>0.7451300710378456</c:v>
                </c:pt>
                <c:pt idx="6">
                  <c:v>0.7489857608782118</c:v>
                </c:pt>
                <c:pt idx="7">
                  <c:v>0.7747246308882119</c:v>
                </c:pt>
                <c:pt idx="8">
                  <c:v>0.727795034682486</c:v>
                </c:pt>
                <c:pt idx="9">
                  <c:v>0.7476189383333716</c:v>
                </c:pt>
                <c:pt idx="10">
                  <c:v>0.7507173601147776</c:v>
                </c:pt>
                <c:pt idx="11">
                  <c:v>0.7511606747077899</c:v>
                </c:pt>
                <c:pt idx="12">
                  <c:v>0.7561152120422637</c:v>
                </c:pt>
                <c:pt idx="13">
                  <c:v>0.7481640424310194</c:v>
                </c:pt>
                <c:pt idx="14">
                  <c:v>0.7202294848848898</c:v>
                </c:pt>
                <c:pt idx="15">
                  <c:v>0.7481779230531383</c:v>
                </c:pt>
                <c:pt idx="16">
                  <c:v>0.7368782237177075</c:v>
                </c:pt>
                <c:pt idx="17">
                  <c:v>0.741120857453424</c:v>
                </c:pt>
                <c:pt idx="18">
                  <c:v>0.7581786651668542</c:v>
                </c:pt>
                <c:pt idx="19">
                  <c:v>0.7383770714753438</c:v>
                </c:pt>
                <c:pt idx="20">
                  <c:v>0.7517236608481103</c:v>
                </c:pt>
                <c:pt idx="21">
                  <c:v>0.7722822246896134</c:v>
                </c:pt>
                <c:pt idx="22">
                  <c:v>0.7193809726855451</c:v>
                </c:pt>
                <c:pt idx="23">
                  <c:v>0.7332094210336505</c:v>
                </c:pt>
                <c:pt idx="24">
                  <c:v>0.7752694436353044</c:v>
                </c:pt>
                <c:pt idx="25">
                  <c:v>0.7752956164432722</c:v>
                </c:pt>
                <c:pt idx="26">
                  <c:v>0.7507450466677583</c:v>
                </c:pt>
                <c:pt idx="27">
                  <c:v>0.744499316037189</c:v>
                </c:pt>
                <c:pt idx="28">
                  <c:v>0.7538755517278501</c:v>
                </c:pt>
                <c:pt idx="29">
                  <c:v>0.7420296909223656</c:v>
                </c:pt>
                <c:pt idx="30">
                  <c:v>0.7782326921098652</c:v>
                </c:pt>
                <c:pt idx="31">
                  <c:v>0.7662631306232041</c:v>
                </c:pt>
                <c:pt idx="32">
                  <c:v>0.7983342643847443</c:v>
                </c:pt>
                <c:pt idx="33">
                  <c:v>0.7539404120756954</c:v>
                </c:pt>
                <c:pt idx="34">
                  <c:v>0.7479789688065005</c:v>
                </c:pt>
                <c:pt idx="35">
                  <c:v>0.7263903790014721</c:v>
                </c:pt>
                <c:pt idx="36">
                  <c:v>0.7515152901351753</c:v>
                </c:pt>
                <c:pt idx="37">
                  <c:v>0.740088400750067</c:v>
                </c:pt>
                <c:pt idx="38">
                  <c:v>0.7382880463967351</c:v>
                </c:pt>
                <c:pt idx="39">
                  <c:v>0.7308872357416046</c:v>
                </c:pt>
                <c:pt idx="40">
                  <c:v>0.7287521753445275</c:v>
                </c:pt>
                <c:pt idx="41">
                  <c:v>0.7317298086528856</c:v>
                </c:pt>
                <c:pt idx="42">
                  <c:v>0.7386889918061987</c:v>
                </c:pt>
                <c:pt idx="43">
                  <c:v>0.7584185613028229</c:v>
                </c:pt>
                <c:pt idx="44">
                  <c:v>0.7516338513247163</c:v>
                </c:pt>
                <c:pt idx="45">
                  <c:v>0.7382210268478939</c:v>
                </c:pt>
                <c:pt idx="46">
                  <c:v>0.7444996286669142</c:v>
                </c:pt>
                <c:pt idx="47">
                  <c:v>0.7392807099486222</c:v>
                </c:pt>
                <c:pt idx="48">
                  <c:v>0.7577430337487191</c:v>
                </c:pt>
                <c:pt idx="49">
                  <c:v>0.7150083821064086</c:v>
                </c:pt>
                <c:pt idx="50">
                  <c:v>0.7931636395775332</c:v>
                </c:pt>
                <c:pt idx="51">
                  <c:v>0.7661110572729916</c:v>
                </c:pt>
              </c:numCache>
            </c:numRef>
          </c:yVal>
          <c:smooth val="0"/>
          <c:extLst>
            <c:ext xmlns:c16="http://schemas.microsoft.com/office/drawing/2014/chart" uri="{C3380CC4-5D6E-409C-BE32-E72D297353CC}">
              <c16:uniqueId val="{00000002-F32D-48B7-BC20-E66FC6253BAD}"/>
            </c:ext>
          </c:extLst>
        </c:ser>
        <c:ser>
          <c:idx val="2"/>
          <c:order val="2"/>
          <c:tx>
            <c:strRef>
              <c:f>Sheet1!$B$101</c:f>
              <c:strCache>
                <c:ptCount val="1"/>
                <c:pt idx="0">
                  <c:v>Custom Linep3yQ</c:v>
                </c:pt>
              </c:strCache>
            </c:strRef>
          </c:tx>
          <c:spPr>
            <a:ln w="19050" cap="rnd">
              <a:solidFill>
                <a:srgbClr val="C00000"/>
              </a:solidFill>
              <a:prstDash val="sysDot"/>
              <a:round/>
            </a:ln>
            <a:effectLst/>
          </c:spPr>
          <c:marker>
            <c:symbol val="none"/>
          </c:marker>
          <c:xVal>
            <c:numRef>
              <c:f>Sheet1!$A$102:$A$103</c:f>
              <c:numCache>
                <c:formatCode>General</c:formatCode>
                <c:ptCount val="2"/>
                <c:pt idx="0">
                  <c:v>0</c:v>
                </c:pt>
                <c:pt idx="1">
                  <c:v>2.8797234710394934</c:v>
                </c:pt>
              </c:numCache>
            </c:numRef>
          </c:xVal>
          <c:yVal>
            <c:numRef>
              <c:f>Sheet1!$B$102:$B$103</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3-F32D-48B7-BC20-E66FC6253BAD}"/>
            </c:ext>
          </c:extLst>
        </c:ser>
        <c:ser>
          <c:idx val="3"/>
          <c:order val="3"/>
          <c:tx>
            <c:strRef>
              <c:f>Sheet1!$B$10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6:$A$107</c:f>
              <c:numCache>
                <c:formatCode>General</c:formatCode>
                <c:ptCount val="2"/>
                <c:pt idx="0">
                  <c:v>2.8797234710394934</c:v>
                </c:pt>
                <c:pt idx="1">
                  <c:v>2.8797234710394934</c:v>
                </c:pt>
              </c:numCache>
            </c:numRef>
          </c:xVal>
          <c:yVal>
            <c:numRef>
              <c:f>Sheet1!$B$106:$B$107</c:f>
              <c:numCache>
                <c:formatCode>General</c:formatCode>
                <c:ptCount val="2"/>
                <c:pt idx="0">
                  <c:v>0.754906612714198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0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10:$A$111</c:f>
              <c:numCache>
                <c:formatCode>General</c:formatCode>
                <c:ptCount val="2"/>
                <c:pt idx="0">
                  <c:v>0</c:v>
                </c:pt>
                <c:pt idx="1">
                  <c:v>2.8797234710394934</c:v>
                </c:pt>
              </c:numCache>
            </c:numRef>
          </c:xVal>
          <c:yVal>
            <c:numRef>
              <c:f>Sheet1!$B$110:$B$111</c:f>
              <c:numCache>
                <c:formatCode>General</c:formatCode>
                <c:ptCount val="2"/>
                <c:pt idx="0">
                  <c:v>0.7549066127141988</c:v>
                </c:pt>
                <c:pt idx="1">
                  <c:v>0.7549066127141988</c:v>
                </c:pt>
              </c:numCache>
            </c:numRef>
          </c:yVal>
          <c:smooth val="0"/>
          <c:extLst>
            <c:ext xmlns:c16="http://schemas.microsoft.com/office/drawing/2014/chart" uri="{C3380CC4-5D6E-409C-BE32-E72D297353CC}">
              <c16:uniqueId val="{0000000A-F32D-48B7-BC20-E66FC6253BAD}"/>
            </c:ext>
          </c:extLst>
        </c:ser>
        <c:ser>
          <c:idx val="5"/>
          <c:order val="5"/>
          <c:tx>
            <c:strRef>
              <c:f>Sheet1!$B$11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14:$A$115</c:f>
              <c:numCache>
                <c:formatCode>General</c:formatCode>
                <c:ptCount val="2"/>
                <c:pt idx="0">
                  <c:v>2.8797234710394934</c:v>
                </c:pt>
                <c:pt idx="1">
                  <c:v>2.8797234710394934</c:v>
                </c:pt>
              </c:numCache>
            </c:numRef>
          </c:xVal>
          <c:yVal>
            <c:numRef>
              <c:f>Sheet1!$B$114:$B$115</c:f>
              <c:numCache>
                <c:formatCode>General</c:formatCode>
                <c:ptCount val="2"/>
                <c:pt idx="0">
                  <c:v>0.7549066127141988</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1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18:$A$119</c:f>
              <c:numCache>
                <c:formatCode>General</c:formatCode>
                <c:ptCount val="2"/>
                <c:pt idx="0">
                  <c:v>0</c:v>
                </c:pt>
                <c:pt idx="1">
                  <c:v>2.3255992201761995</c:v>
                </c:pt>
              </c:numCache>
            </c:numRef>
          </c:xVal>
          <c:yVal>
            <c:numRef>
              <c:f>Sheet1!$B$118:$B$119</c:f>
              <c:numCache>
                <c:formatCode>General</c:formatCode>
                <c:ptCount val="2"/>
                <c:pt idx="0">
                  <c:v>0.7457029309493723</c:v>
                </c:pt>
                <c:pt idx="1">
                  <c:v>0.7457029309493723</c:v>
                </c:pt>
              </c:numCache>
            </c:numRef>
          </c:yVal>
          <c:smooth val="0"/>
          <c:extLst>
            <c:ext xmlns:c16="http://schemas.microsoft.com/office/drawing/2014/chart" uri="{C3380CC4-5D6E-409C-BE32-E72D297353CC}">
              <c16:uniqueId val="{00000011-F32D-48B7-BC20-E66FC6253BAD}"/>
            </c:ext>
          </c:extLst>
        </c:ser>
        <c:ser>
          <c:idx val="7"/>
          <c:order val="7"/>
          <c:tx>
            <c:strRef>
              <c:f>Sheet1!$B$12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2:$A$123</c:f>
              <c:numCache>
                <c:formatCode>General</c:formatCode>
                <c:ptCount val="2"/>
                <c:pt idx="0">
                  <c:v>2.3255992201761995</c:v>
                </c:pt>
                <c:pt idx="1">
                  <c:v>2.3255992201761995</c:v>
                </c:pt>
              </c:numCache>
            </c:numRef>
          </c:xVal>
          <c:yVal>
            <c:numRef>
              <c:f>Sheet1!$B$122:$B$123</c:f>
              <c:numCache>
                <c:formatCode>General</c:formatCode>
                <c:ptCount val="2"/>
                <c:pt idx="0">
                  <c:v>0.745702930949372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2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26:$A$180</c:f>
              <c:numCache>
                <c:formatCode>General</c:formatCode>
                <c:ptCount val="55"/>
                <c:pt idx="0">
                  <c:v>2.6322</c:v>
                </c:pt>
                <c:pt idx="1">
                  <c:v>2.7125</c:v>
                </c:pt>
                <c:pt idx="2">
                  <c:v>2.7115</c:v>
                </c:pt>
                <c:pt idx="3">
                  <c:v>2.7119</c:v>
                </c:pt>
                <c:pt idx="4">
                  <c:v>2.7125</c:v>
                </c:pt>
                <c:pt idx="5">
                  <c:v>2.7083</c:v>
                </c:pt>
                <c:pt idx="6">
                  <c:v>2.702</c:v>
                </c:pt>
                <c:pt idx="7">
                  <c:v>2.7151</c:v>
                </c:pt>
                <c:pt idx="8">
                  <c:v>2.7173</c:v>
                </c:pt>
                <c:pt idx="9">
                  <c:v>2.7078</c:v>
                </c:pt>
                <c:pt idx="10">
                  <c:v>2.7078</c:v>
                </c:pt>
                <c:pt idx="11">
                  <c:v>2.7065</c:v>
                </c:pt>
                <c:pt idx="12">
                  <c:v>2.7185</c:v>
                </c:pt>
                <c:pt idx="13">
                  <c:v>2.7401</c:v>
                </c:pt>
                <c:pt idx="14">
                  <c:v>2.6866</c:v>
                </c:pt>
                <c:pt idx="15">
                  <c:v>2.7217</c:v>
                </c:pt>
                <c:pt idx="16">
                  <c:v>2.708</c:v>
                </c:pt>
                <c:pt idx="17">
                  <c:v>2.6969</c:v>
                </c:pt>
                <c:pt idx="18">
                  <c:v>2.7297</c:v>
                </c:pt>
                <c:pt idx="19">
                  <c:v>2.6969</c:v>
                </c:pt>
                <c:pt idx="20">
                  <c:v>2.7236</c:v>
                </c:pt>
                <c:pt idx="21">
                  <c:v>2.7063</c:v>
                </c:pt>
                <c:pt idx="22">
                  <c:v>2.457</c:v>
                </c:pt>
                <c:pt idx="23">
                  <c:v>2.4432</c:v>
                </c:pt>
                <c:pt idx="24">
                  <c:v>2.4617</c:v>
                </c:pt>
                <c:pt idx="25">
                  <c:v>2.6658</c:v>
                </c:pt>
                <c:pt idx="26">
                  <c:v>2.5346</c:v>
                </c:pt>
                <c:pt idx="27">
                  <c:v>2.5242</c:v>
                </c:pt>
                <c:pt idx="28">
                  <c:v>2.5422</c:v>
                </c:pt>
                <c:pt idx="29">
                  <c:v>2.5424</c:v>
                </c:pt>
                <c:pt idx="30">
                  <c:v>2.5195</c:v>
                </c:pt>
                <c:pt idx="31">
                  <c:v>2.5336</c:v>
                </c:pt>
                <c:pt idx="32">
                  <c:v>2.5506</c:v>
                </c:pt>
                <c:pt idx="33">
                  <c:v>2.5</c:v>
                </c:pt>
                <c:pt idx="34">
                  <c:v>2.555</c:v>
                </c:pt>
                <c:pt idx="35">
                  <c:v>2.5387</c:v>
                </c:pt>
                <c:pt idx="36">
                  <c:v>2.5142</c:v>
                </c:pt>
                <c:pt idx="37">
                  <c:v>2.5341</c:v>
                </c:pt>
                <c:pt idx="38">
                  <c:v>2.5347</c:v>
                </c:pt>
                <c:pt idx="39">
                  <c:v>2.5341</c:v>
                </c:pt>
                <c:pt idx="40">
                  <c:v>2.5256</c:v>
                </c:pt>
                <c:pt idx="41">
                  <c:v>2.5556</c:v>
                </c:pt>
                <c:pt idx="42">
                  <c:v>2.5479</c:v>
                </c:pt>
                <c:pt idx="43">
                  <c:v>2.5385</c:v>
                </c:pt>
                <c:pt idx="44">
                  <c:v>2.5109</c:v>
                </c:pt>
                <c:pt idx="45">
                  <c:v>2.5628</c:v>
                </c:pt>
                <c:pt idx="46">
                  <c:v>2.5372</c:v>
                </c:pt>
                <c:pt idx="47">
                  <c:v>2.5301</c:v>
                </c:pt>
                <c:pt idx="48">
                  <c:v>2.5347</c:v>
                </c:pt>
                <c:pt idx="49">
                  <c:v>2.5324</c:v>
                </c:pt>
                <c:pt idx="50">
                  <c:v>2.544</c:v>
                </c:pt>
                <c:pt idx="51">
                  <c:v>2.5126</c:v>
                </c:pt>
                <c:pt idx="52">
                  <c:v>2.8797234710394934</c:v>
                </c:pt>
                <c:pt idx="53">
                  <c:v>2.8797234710394934</c:v>
                </c:pt>
                <c:pt idx="54">
                  <c:v>2.3255992201761995</c:v>
                </c:pt>
              </c:numCache>
            </c:numRef>
          </c:xVal>
          <c:yVal>
            <c:numRef>
              <c:f>Sheet1!$B$126:$B$180</c:f>
              <c:numCache>
                <c:formatCode>General</c:formatCode>
                <c:ptCount val="55"/>
                <c:pt idx="0">
                  <c:v>0.750795391714173</c:v>
                </c:pt>
                <c:pt idx="1">
                  <c:v>0.752129128045987</c:v>
                </c:pt>
                <c:pt idx="2">
                  <c:v>0.7521125186271599</c:v>
                </c:pt>
                <c:pt idx="3">
                  <c:v>0.7521191623946907</c:v>
                </c:pt>
                <c:pt idx="4">
                  <c:v>0.752129128045987</c:v>
                </c:pt>
                <c:pt idx="5">
                  <c:v>0.7520593684869132</c:v>
                </c:pt>
                <c:pt idx="6">
                  <c:v>0.7519547291483026</c:v>
                </c:pt>
                <c:pt idx="7">
                  <c:v>0.7521723125349373</c:v>
                </c:pt>
                <c:pt idx="8">
                  <c:v>0.7522088532563569</c:v>
                </c:pt>
                <c:pt idx="9">
                  <c:v>0.7520510637774998</c:v>
                </c:pt>
                <c:pt idx="10">
                  <c:v>0.7520510637774998</c:v>
                </c:pt>
                <c:pt idx="11">
                  <c:v>0.7520294715330245</c:v>
                </c:pt>
                <c:pt idx="12">
                  <c:v>0.7522287845589494</c:v>
                </c:pt>
                <c:pt idx="13">
                  <c:v>0.7525875480056141</c:v>
                </c:pt>
                <c:pt idx="14">
                  <c:v>0.7516989440983658</c:v>
                </c:pt>
                <c:pt idx="15">
                  <c:v>0.752281934699196</c:v>
                </c:pt>
                <c:pt idx="16">
                  <c:v>0.7520543856612651</c:v>
                </c:pt>
                <c:pt idx="17">
                  <c:v>0.7518700211122846</c:v>
                </c:pt>
                <c:pt idx="18">
                  <c:v>0.7524148100498126</c:v>
                </c:pt>
                <c:pt idx="19">
                  <c:v>0.7518700211122846</c:v>
                </c:pt>
                <c:pt idx="20">
                  <c:v>0.7523134925949675</c:v>
                </c:pt>
                <c:pt idx="21">
                  <c:v>0.7520261496492591</c:v>
                </c:pt>
                <c:pt idx="22">
                  <c:v>0.7478854215356698</c:v>
                </c:pt>
                <c:pt idx="23">
                  <c:v>0.7476562115558563</c:v>
                </c:pt>
                <c:pt idx="24">
                  <c:v>0.7479634858041571</c:v>
                </c:pt>
                <c:pt idx="25">
                  <c:v>0.7513534681867626</c:v>
                </c:pt>
                <c:pt idx="26">
                  <c:v>0.7491743124366507</c:v>
                </c:pt>
                <c:pt idx="27">
                  <c:v>0.7490015744808491</c:v>
                </c:pt>
                <c:pt idx="28">
                  <c:v>0.7493005440197364</c:v>
                </c:pt>
                <c:pt idx="29">
                  <c:v>0.7493038659035018</c:v>
                </c:pt>
                <c:pt idx="30">
                  <c:v>0.7489235102123619</c:v>
                </c:pt>
                <c:pt idx="31">
                  <c:v>0.7491577030178236</c:v>
                </c:pt>
                <c:pt idx="32">
                  <c:v>0.7494400631378838</c:v>
                </c:pt>
                <c:pt idx="33">
                  <c:v>0.7485996265452339</c:v>
                </c:pt>
                <c:pt idx="34">
                  <c:v>0.7495131445807229</c:v>
                </c:pt>
                <c:pt idx="35">
                  <c:v>0.7492424110538417</c:v>
                </c:pt>
                <c:pt idx="36">
                  <c:v>0.7488354802925784</c:v>
                </c:pt>
                <c:pt idx="37">
                  <c:v>0.7491660077272372</c:v>
                </c:pt>
                <c:pt idx="38">
                  <c:v>0.7491759733785334</c:v>
                </c:pt>
                <c:pt idx="39">
                  <c:v>0.7491660077272372</c:v>
                </c:pt>
                <c:pt idx="40">
                  <c:v>0.749024827667207</c:v>
                </c:pt>
                <c:pt idx="41">
                  <c:v>0.7495231102320192</c:v>
                </c:pt>
                <c:pt idx="42">
                  <c:v>0.7493952177070508</c:v>
                </c:pt>
                <c:pt idx="43">
                  <c:v>0.7492390891700763</c:v>
                </c:pt>
                <c:pt idx="44">
                  <c:v>0.7487806692104491</c:v>
                </c:pt>
                <c:pt idx="45">
                  <c:v>0.7496426980475741</c:v>
                </c:pt>
                <c:pt idx="46">
                  <c:v>0.749217496925601</c:v>
                </c:pt>
                <c:pt idx="47">
                  <c:v>0.7490995700519288</c:v>
                </c:pt>
                <c:pt idx="48">
                  <c:v>0.7491759733785334</c:v>
                </c:pt>
                <c:pt idx="49">
                  <c:v>0.7491377717152311</c:v>
                </c:pt>
                <c:pt idx="50">
                  <c:v>0.7493304409736252</c:v>
                </c:pt>
                <c:pt idx="51">
                  <c:v>0.7488089052224551</c:v>
                </c:pt>
                <c:pt idx="52">
                  <c:v>0.7549066127141988</c:v>
                </c:pt>
                <c:pt idx="53">
                  <c:v>0.7549066127141988</c:v>
                </c:pt>
                <c:pt idx="54">
                  <c:v>0.74570293094937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9580011172616931"/>
          <c:min val="0.52385047550296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5/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 Id="rId7"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 Id="rId7"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 Id="rId7"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 Id="rId7"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 Id="rId7"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 Id="rId7" Type="http://schemas.openxmlformats.org/officeDocument/2006/relationships/chart" Target="../charts/chart88.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mel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3961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7084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0187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2059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23941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411156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5992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9865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4788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94401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lpro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27515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mel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611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lpro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84233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lpro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11228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mel vs Hacendado | Mercadona | Functional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1595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via vs Hacendado | Mercadona | Functional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2031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acol vs Hacendado | Mercadona | Functional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1365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Hacendado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811357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La Faged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10249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Densi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3708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Hacendado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6296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La Faged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9390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mel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4032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Densi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278031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Hacendado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9159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La Faged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009705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Densia | Mercadona | Every Day Nutriti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5902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lpro vs Hacendado | Mercadona | Plant Based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36227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lpro vs Hacendado | Mercadona | Plant Based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64951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via vs Hacendado | Mercadona | Bifidu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984400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acol vs Hacendado | Mercadona | Cholestero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59126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Hacendado | Mercadona | Essenti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72513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mel vs Hacendado | Mercadona | Immunity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1963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via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18650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Hacendado | Mercadona |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76839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La Fageda | Mercadona | Kid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3785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e vs Hacendado | Mercadona | Essential Spo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92223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Oikos vs Hacendado | Mercadona | Greek Spo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711962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La Fageda | Mercadona | Kids Spo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33407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onino vs Hacendado | Mercadona | Kids Spoon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14155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via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7482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Activia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6620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acol vs Hacendado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6294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acol vs La Faged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777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27/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Danacol vs Densia | Yogurt | Mercadona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1226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3195</Words>
  <Application>Microsoft Office PowerPoint</Application>
  <PresentationFormat>On-screen Show (16:9)</PresentationFormat>
  <Paragraphs>585</Paragraphs>
  <Slides>45</Slides>
  <Notes>4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6</cp:revision>
  <dcterms:created xsi:type="dcterms:W3CDTF">2024-07-05T14:56:51Z</dcterms:created>
  <dcterms:modified xsi:type="dcterms:W3CDTF">2025-05-27T12: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